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07" r:id="rId1"/>
    <p:sldMasterId id="2147484010" r:id="rId2"/>
    <p:sldMasterId id="2147484023" r:id="rId3"/>
    <p:sldMasterId id="2147484030" r:id="rId4"/>
  </p:sldMasterIdLst>
  <p:notesMasterIdLst>
    <p:notesMasterId r:id="rId32"/>
  </p:notesMasterIdLst>
  <p:handoutMasterIdLst>
    <p:handoutMasterId r:id="rId33"/>
  </p:handoutMasterIdLst>
  <p:sldIdLst>
    <p:sldId id="407" r:id="rId5"/>
    <p:sldId id="438" r:id="rId6"/>
    <p:sldId id="439" r:id="rId7"/>
    <p:sldId id="416" r:id="rId8"/>
    <p:sldId id="417" r:id="rId9"/>
    <p:sldId id="441" r:id="rId10"/>
    <p:sldId id="450" r:id="rId11"/>
    <p:sldId id="440" r:id="rId12"/>
    <p:sldId id="420" r:id="rId13"/>
    <p:sldId id="442" r:id="rId14"/>
    <p:sldId id="421" r:id="rId15"/>
    <p:sldId id="443" r:id="rId16"/>
    <p:sldId id="423" r:id="rId17"/>
    <p:sldId id="445" r:id="rId18"/>
    <p:sldId id="444" r:id="rId19"/>
    <p:sldId id="425" r:id="rId20"/>
    <p:sldId id="426" r:id="rId21"/>
    <p:sldId id="427" r:id="rId22"/>
    <p:sldId id="446" r:id="rId23"/>
    <p:sldId id="447" r:id="rId24"/>
    <p:sldId id="448" r:id="rId25"/>
    <p:sldId id="456" r:id="rId26"/>
    <p:sldId id="451" r:id="rId27"/>
    <p:sldId id="452" r:id="rId28"/>
    <p:sldId id="453" r:id="rId29"/>
    <p:sldId id="454" r:id="rId30"/>
    <p:sldId id="455" r:id="rId31"/>
  </p:sldIdLst>
  <p:sldSz cx="12192000" cy="6858000"/>
  <p:notesSz cx="7099300" cy="10234613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5pPr>
    <a:lvl6pPr marL="22860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6pPr>
    <a:lvl7pPr marL="27432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7pPr>
    <a:lvl8pPr marL="32004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8pPr>
    <a:lvl9pPr marL="36576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oncool" initials="l" lastIdx="2" clrIdx="0">
    <p:extLst>
      <p:ext uri="{19B8F6BF-5375-455C-9EA6-DF929625EA0E}">
        <p15:presenceInfo xmlns:p15="http://schemas.microsoft.com/office/powerpoint/2012/main" userId="leoncoo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457D"/>
    <a:srgbClr val="CC4B4A"/>
    <a:srgbClr val="94B6D2"/>
    <a:srgbClr val="006600"/>
    <a:srgbClr val="CE4C4B"/>
    <a:srgbClr val="0000FF"/>
    <a:srgbClr val="E7E9F0"/>
    <a:srgbClr val="8D42C6"/>
    <a:srgbClr val="996633"/>
    <a:srgbClr val="66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中等深淺樣式 1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027" autoAdjust="0"/>
  </p:normalViewPr>
  <p:slideViewPr>
    <p:cSldViewPr>
      <p:cViewPr varScale="1">
        <p:scale>
          <a:sx n="90" d="100"/>
          <a:sy n="90" d="100"/>
        </p:scale>
        <p:origin x="120" y="56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2076" y="-9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 " userId="fcf3a5d3-10a1-47af-ad33-befcab67da86" providerId="ADAL" clId="{DB43927B-08B6-40C0-A2D4-6EEADD99D3EF}"/>
    <pc:docChg chg="undo delSld modSld">
      <pc:chgData name=" " userId="fcf3a5d3-10a1-47af-ad33-befcab67da86" providerId="ADAL" clId="{DB43927B-08B6-40C0-A2D4-6EEADD99D3EF}" dt="2021-12-21T12:12:13.330" v="113" actId="20577"/>
      <pc:docMkLst>
        <pc:docMk/>
      </pc:docMkLst>
      <pc:sldChg chg="modSp">
        <pc:chgData name=" " userId="fcf3a5d3-10a1-47af-ad33-befcab67da86" providerId="ADAL" clId="{DB43927B-08B6-40C0-A2D4-6EEADD99D3EF}" dt="2021-12-21T12:09:58.282" v="36" actId="20577"/>
        <pc:sldMkLst>
          <pc:docMk/>
          <pc:sldMk cId="1234129385" sldId="407"/>
        </pc:sldMkLst>
        <pc:spChg chg="mod">
          <ac:chgData name=" " userId="fcf3a5d3-10a1-47af-ad33-befcab67da86" providerId="ADAL" clId="{DB43927B-08B6-40C0-A2D4-6EEADD99D3EF}" dt="2021-12-21T12:09:58.282" v="36" actId="20577"/>
          <ac:spMkLst>
            <pc:docMk/>
            <pc:sldMk cId="1234129385" sldId="407"/>
            <ac:spMk id="10" creationId="{00000000-0000-0000-0000-000000000000}"/>
          </ac:spMkLst>
        </pc:spChg>
      </pc:sldChg>
      <pc:sldChg chg="del">
        <pc:chgData name=" " userId="fcf3a5d3-10a1-47af-ad33-befcab67da86" providerId="ADAL" clId="{DB43927B-08B6-40C0-A2D4-6EEADD99D3EF}" dt="2021-12-21T12:01:17.756" v="0" actId="2696"/>
        <pc:sldMkLst>
          <pc:docMk/>
          <pc:sldMk cId="1089236417" sldId="413"/>
        </pc:sldMkLst>
      </pc:sldChg>
      <pc:sldChg chg="modSp">
        <pc:chgData name=" " userId="fcf3a5d3-10a1-47af-ad33-befcab67da86" providerId="ADAL" clId="{DB43927B-08B6-40C0-A2D4-6EEADD99D3EF}" dt="2021-12-21T12:10:41.589" v="47" actId="6549"/>
        <pc:sldMkLst>
          <pc:docMk/>
          <pc:sldMk cId="3289744883" sldId="423"/>
        </pc:sldMkLst>
        <pc:spChg chg="mod">
          <ac:chgData name=" " userId="fcf3a5d3-10a1-47af-ad33-befcab67da86" providerId="ADAL" clId="{DB43927B-08B6-40C0-A2D4-6EEADD99D3EF}" dt="2021-12-21T12:10:41.589" v="47" actId="6549"/>
          <ac:spMkLst>
            <pc:docMk/>
            <pc:sldMk cId="3289744883" sldId="423"/>
            <ac:spMk id="2" creationId="{00000000-0000-0000-0000-000000000000}"/>
          </ac:spMkLst>
        </pc:spChg>
      </pc:sldChg>
      <pc:sldChg chg="modSp">
        <pc:chgData name=" " userId="fcf3a5d3-10a1-47af-ad33-befcab67da86" providerId="ADAL" clId="{DB43927B-08B6-40C0-A2D4-6EEADD99D3EF}" dt="2021-12-21T12:10:24.737" v="46" actId="20577"/>
        <pc:sldMkLst>
          <pc:docMk/>
          <pc:sldMk cId="884673965" sldId="438"/>
        </pc:sldMkLst>
        <pc:spChg chg="mod">
          <ac:chgData name=" " userId="fcf3a5d3-10a1-47af-ad33-befcab67da86" providerId="ADAL" clId="{DB43927B-08B6-40C0-A2D4-6EEADD99D3EF}" dt="2021-12-21T12:10:24.737" v="46" actId="20577"/>
          <ac:spMkLst>
            <pc:docMk/>
            <pc:sldMk cId="884673965" sldId="438"/>
            <ac:spMk id="5" creationId="{00000000-0000-0000-0000-000000000000}"/>
          </ac:spMkLst>
        </pc:spChg>
      </pc:sldChg>
      <pc:sldChg chg="modSp">
        <pc:chgData name=" " userId="fcf3a5d3-10a1-47af-ad33-befcab67da86" providerId="ADAL" clId="{DB43927B-08B6-40C0-A2D4-6EEADD99D3EF}" dt="2021-12-21T12:10:47.760" v="54" actId="20577"/>
        <pc:sldMkLst>
          <pc:docMk/>
          <pc:sldMk cId="2121686091" sldId="443"/>
        </pc:sldMkLst>
        <pc:spChg chg="mod">
          <ac:chgData name=" " userId="fcf3a5d3-10a1-47af-ad33-befcab67da86" providerId="ADAL" clId="{DB43927B-08B6-40C0-A2D4-6EEADD99D3EF}" dt="2021-12-21T12:10:47.760" v="54" actId="20577"/>
          <ac:spMkLst>
            <pc:docMk/>
            <pc:sldMk cId="2121686091" sldId="443"/>
            <ac:spMk id="2" creationId="{00000000-0000-0000-0000-000000000000}"/>
          </ac:spMkLst>
        </pc:spChg>
      </pc:sldChg>
      <pc:sldChg chg="modSp">
        <pc:chgData name=" " userId="fcf3a5d3-10a1-47af-ad33-befcab67da86" providerId="ADAL" clId="{DB43927B-08B6-40C0-A2D4-6EEADD99D3EF}" dt="2021-12-21T12:11:01.352" v="75" actId="20577"/>
        <pc:sldMkLst>
          <pc:docMk/>
          <pc:sldMk cId="507391707" sldId="444"/>
        </pc:sldMkLst>
        <pc:spChg chg="mod">
          <ac:chgData name=" " userId="fcf3a5d3-10a1-47af-ad33-befcab67da86" providerId="ADAL" clId="{DB43927B-08B6-40C0-A2D4-6EEADD99D3EF}" dt="2021-12-21T12:11:01.352" v="75" actId="20577"/>
          <ac:spMkLst>
            <pc:docMk/>
            <pc:sldMk cId="507391707" sldId="444"/>
            <ac:spMk id="2" creationId="{00000000-0000-0000-0000-000000000000}"/>
          </ac:spMkLst>
        </pc:spChg>
      </pc:sldChg>
      <pc:sldChg chg="modSp">
        <pc:chgData name=" " userId="fcf3a5d3-10a1-47af-ad33-befcab67da86" providerId="ADAL" clId="{DB43927B-08B6-40C0-A2D4-6EEADD99D3EF}" dt="2021-12-21T12:10:54.424" v="61" actId="20577"/>
        <pc:sldMkLst>
          <pc:docMk/>
          <pc:sldMk cId="1264532555" sldId="445"/>
        </pc:sldMkLst>
        <pc:spChg chg="mod">
          <ac:chgData name=" " userId="fcf3a5d3-10a1-47af-ad33-befcab67da86" providerId="ADAL" clId="{DB43927B-08B6-40C0-A2D4-6EEADD99D3EF}" dt="2021-12-21T12:10:54.424" v="61" actId="20577"/>
          <ac:spMkLst>
            <pc:docMk/>
            <pc:sldMk cId="1264532555" sldId="445"/>
            <ac:spMk id="2" creationId="{00000000-0000-0000-0000-000000000000}"/>
          </ac:spMkLst>
        </pc:spChg>
      </pc:sldChg>
      <pc:sldChg chg="modSp">
        <pc:chgData name=" " userId="fcf3a5d3-10a1-47af-ad33-befcab67da86" providerId="ADAL" clId="{DB43927B-08B6-40C0-A2D4-6EEADD99D3EF}" dt="2021-12-21T12:11:07.521" v="82" actId="6549"/>
        <pc:sldMkLst>
          <pc:docMk/>
          <pc:sldMk cId="840306396" sldId="446"/>
        </pc:sldMkLst>
        <pc:spChg chg="mod">
          <ac:chgData name=" " userId="fcf3a5d3-10a1-47af-ad33-befcab67da86" providerId="ADAL" clId="{DB43927B-08B6-40C0-A2D4-6EEADD99D3EF}" dt="2021-12-21T12:11:07.521" v="82" actId="6549"/>
          <ac:spMkLst>
            <pc:docMk/>
            <pc:sldMk cId="840306396" sldId="446"/>
            <ac:spMk id="5" creationId="{00000000-0000-0000-0000-000000000000}"/>
          </ac:spMkLst>
        </pc:spChg>
      </pc:sldChg>
      <pc:sldChg chg="modSp">
        <pc:chgData name=" " userId="fcf3a5d3-10a1-47af-ad33-befcab67da86" providerId="ADAL" clId="{DB43927B-08B6-40C0-A2D4-6EEADD99D3EF}" dt="2021-12-21T12:11:17.801" v="89" actId="6549"/>
        <pc:sldMkLst>
          <pc:docMk/>
          <pc:sldMk cId="3817276822" sldId="453"/>
        </pc:sldMkLst>
        <pc:spChg chg="mod">
          <ac:chgData name=" " userId="fcf3a5d3-10a1-47af-ad33-befcab67da86" providerId="ADAL" clId="{DB43927B-08B6-40C0-A2D4-6EEADD99D3EF}" dt="2021-12-21T12:11:17.801" v="89" actId="6549"/>
          <ac:spMkLst>
            <pc:docMk/>
            <pc:sldMk cId="3817276822" sldId="453"/>
            <ac:spMk id="5" creationId="{00000000-0000-0000-0000-000000000000}"/>
          </ac:spMkLst>
        </pc:spChg>
      </pc:sldChg>
      <pc:sldChg chg="modSp">
        <pc:chgData name=" " userId="fcf3a5d3-10a1-47af-ad33-befcab67da86" providerId="ADAL" clId="{DB43927B-08B6-40C0-A2D4-6EEADD99D3EF}" dt="2021-12-21T12:12:13.330" v="113" actId="20577"/>
        <pc:sldMkLst>
          <pc:docMk/>
          <pc:sldMk cId="719066267" sldId="455"/>
        </pc:sldMkLst>
        <pc:graphicFrameChg chg="modGraphic">
          <ac:chgData name=" " userId="fcf3a5d3-10a1-47af-ad33-befcab67da86" providerId="ADAL" clId="{DB43927B-08B6-40C0-A2D4-6EEADD99D3EF}" dt="2021-12-21T12:12:13.330" v="113" actId="20577"/>
          <ac:graphicFrameMkLst>
            <pc:docMk/>
            <pc:sldMk cId="719066267" sldId="455"/>
            <ac:graphicFrameMk id="26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zh-TW" altLang="en-US" dirty="0">
                <a:latin typeface="Arial" panose="020B0604020202020204" pitchFamily="34" charset="0"/>
                <a:ea typeface="微軟正黑體" panose="020B0604030504040204" pitchFamily="34" charset="-120"/>
              </a:rPr>
              <a:t>楊尚峰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56743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en-US" altLang="zh-TW" dirty="0" err="1">
                <a:latin typeface="Arial" panose="020B0604020202020204" pitchFamily="34" charset="0"/>
                <a:ea typeface="微軟正黑體" panose="020B0604030504040204" pitchFamily="34" charset="-120"/>
              </a:rPr>
              <a:t>Matlab</a:t>
            </a:r>
            <a:r>
              <a:rPr lang="en-US" altLang="zh-TW" dirty="0">
                <a:latin typeface="Arial" panose="020B0604020202020204" pitchFamily="34" charset="0"/>
                <a:ea typeface="微軟正黑體" panose="020B0604030504040204" pitchFamily="34" charset="-120"/>
              </a:rPr>
              <a:t> </a:t>
            </a:r>
            <a:r>
              <a:rPr lang="zh-TW" altLang="en-US" dirty="0">
                <a:latin typeface="Arial" panose="020B0604020202020204" pitchFamily="34" charset="0"/>
                <a:ea typeface="微軟正黑體" panose="020B0604030504040204" pitchFamily="34" charset="-120"/>
              </a:rPr>
              <a:t>簡介</a:t>
            </a: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56743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fld id="{FC87EB3B-6E22-4901-A3A3-B25238DF1E21}" type="slidenum">
              <a:rPr lang="zh-TW" altLang="en-US">
                <a:latin typeface="Arial" panose="020B0604020202020204" pitchFamily="34" charset="0"/>
                <a:ea typeface="微軟正黑體" panose="020B0604030504040204" pitchFamily="34" charset="-120"/>
              </a:rPr>
              <a:pPr>
                <a:defRPr/>
              </a:pPr>
              <a:t>‹#›</a:t>
            </a:fld>
            <a:endParaRPr lang="en-US" altLang="zh-TW" dirty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0788824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Rectangle 8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0" sz="1300"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93187" name="Rectangle 9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82550" y="746125"/>
            <a:ext cx="6934200" cy="39004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58" name="Rectangle 10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6172" y="4896018"/>
            <a:ext cx="5226957" cy="4564084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noProof="0" dirty="0"/>
              <a:t>按一下以編輯母片文字樣式</a:t>
            </a:r>
          </a:p>
          <a:p>
            <a:pPr lvl="1"/>
            <a:r>
              <a:rPr lang="zh-TW" altLang="en-US" noProof="0" dirty="0"/>
              <a:t>第二層</a:t>
            </a:r>
          </a:p>
          <a:p>
            <a:pPr lvl="2"/>
            <a:r>
              <a:rPr lang="zh-TW" altLang="en-US" noProof="0" dirty="0"/>
              <a:t>第三層</a:t>
            </a:r>
          </a:p>
          <a:p>
            <a:pPr lvl="3"/>
            <a:r>
              <a:rPr lang="zh-TW" altLang="en-US" noProof="0" dirty="0"/>
              <a:t>第四層</a:t>
            </a:r>
          </a:p>
          <a:p>
            <a:pPr lvl="4"/>
            <a:r>
              <a:rPr lang="zh-TW" altLang="en-US" noProof="0" dirty="0"/>
              <a:t>第五層</a:t>
            </a:r>
            <a:endParaRPr lang="zh-TW" altLang="zh-TW" noProof="0" dirty="0"/>
          </a:p>
        </p:txBody>
      </p:sp>
      <p:sp>
        <p:nvSpPr>
          <p:cNvPr id="2059" name="Rectangle 11"/>
          <p:cNvSpPr>
            <a:spLocks noGrp="1" noChangeArrowheads="1"/>
          </p:cNvSpPr>
          <p:nvPr>
            <p:ph type="dt" idx="1"/>
          </p:nvPr>
        </p:nvSpPr>
        <p:spPr bwMode="auto">
          <a:xfrm>
            <a:off x="4056743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300"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2060" name="Rectangle 12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300"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2061" name="Rectangle 13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56743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300"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pPr>
              <a:defRPr/>
            </a:pPr>
            <a:fld id="{9E74AC7C-CC5D-4B84-B1B5-64107E70B8E7}" type="slidenum">
              <a:rPr lang="zh-TW" altLang="en-US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732326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微軟正黑體" panose="020B0604030504040204" pitchFamily="34" charset="-120"/>
        <a:cs typeface="+mn-cs"/>
      </a:defRPr>
    </a:lvl1pPr>
    <a:lvl2pPr marL="461963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微軟正黑體" panose="020B0604030504040204" pitchFamily="34" charset="-120"/>
        <a:cs typeface="+mn-cs"/>
      </a:defRPr>
    </a:lvl2pPr>
    <a:lvl3pPr marL="923925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微軟正黑體" panose="020B0604030504040204" pitchFamily="34" charset="-120"/>
        <a:cs typeface="+mn-cs"/>
      </a:defRPr>
    </a:lvl3pPr>
    <a:lvl4pPr marL="1387475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微軟正黑體" panose="020B0604030504040204" pitchFamily="34" charset="-120"/>
        <a:cs typeface="+mn-cs"/>
      </a:defRPr>
    </a:lvl4pPr>
    <a:lvl5pPr marL="1849438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微軟正黑體" panose="020B0604030504040204" pitchFamily="34" charset="-12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任意多边形: 形状 3">
            <a:extLst>
              <a:ext uri="{FF2B5EF4-FFF2-40B4-BE49-F238E27FC236}">
                <a16:creationId xmlns:a16="http://schemas.microsoft.com/office/drawing/2014/main" id="{06520DCF-DA61-4D14-AE07-15B7F11C9D32}"/>
              </a:ext>
            </a:extLst>
          </p:cNvPr>
          <p:cNvSpPr/>
          <p:nvPr userDrawn="1"/>
        </p:nvSpPr>
        <p:spPr>
          <a:xfrm>
            <a:off x="-3175" y="-3175"/>
            <a:ext cx="12198350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12" name="任意多边形: 形状 4">
            <a:extLst>
              <a:ext uri="{FF2B5EF4-FFF2-40B4-BE49-F238E27FC236}">
                <a16:creationId xmlns:a16="http://schemas.microsoft.com/office/drawing/2014/main" id="{C5E579F9-9089-46E8-880D-9A5453E7D2E7}"/>
              </a:ext>
            </a:extLst>
          </p:cNvPr>
          <p:cNvSpPr/>
          <p:nvPr userDrawn="1"/>
        </p:nvSpPr>
        <p:spPr>
          <a:xfrm>
            <a:off x="5273293" y="-3175"/>
            <a:ext cx="6921500" cy="6864350"/>
          </a:xfrm>
          <a:custGeom>
            <a:avLst/>
            <a:gdLst>
              <a:gd name="connsiteX0" fmla="*/ 5248657 w 6921500"/>
              <a:gd name="connsiteY0" fmla="*/ 1030605 h 6864350"/>
              <a:gd name="connsiteX1" fmla="*/ 72137 w 6921500"/>
              <a:gd name="connsiteY1" fmla="*/ 6324600 h 6864350"/>
              <a:gd name="connsiteX2" fmla="*/ 3557 w 6921500"/>
              <a:gd name="connsiteY2" fmla="*/ 6861175 h 6864350"/>
              <a:gd name="connsiteX3" fmla="*/ 6918707 w 6921500"/>
              <a:gd name="connsiteY3" fmla="*/ 6861175 h 6864350"/>
              <a:gd name="connsiteX4" fmla="*/ 6918707 w 6921500"/>
              <a:gd name="connsiteY4" fmla="*/ 3175 h 6864350"/>
              <a:gd name="connsiteX5" fmla="*/ 5663313 w 6921500"/>
              <a:gd name="connsiteY5" fmla="*/ 3175 h 6864350"/>
              <a:gd name="connsiteX6" fmla="*/ 5248657 w 6921500"/>
              <a:gd name="connsiteY6" fmla="*/ 103060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1500" h="6864350">
                <a:moveTo>
                  <a:pt x="5248657" y="1030605"/>
                </a:moveTo>
                <a:cubicBezTo>
                  <a:pt x="4744467" y="1462405"/>
                  <a:pt x="72137" y="6324600"/>
                  <a:pt x="72137" y="6324600"/>
                </a:cubicBezTo>
                <a:cubicBezTo>
                  <a:pt x="72137" y="6324600"/>
                  <a:pt x="-2793" y="6593206"/>
                  <a:pt x="3557" y="6861175"/>
                </a:cubicBezTo>
                <a:lnTo>
                  <a:pt x="6918707" y="6861175"/>
                </a:lnTo>
                <a:lnTo>
                  <a:pt x="6918707" y="3175"/>
                </a:lnTo>
                <a:lnTo>
                  <a:pt x="5663313" y="3175"/>
                </a:lnTo>
                <a:cubicBezTo>
                  <a:pt x="5655692" y="276225"/>
                  <a:pt x="5587747" y="740410"/>
                  <a:pt x="5248657" y="1030605"/>
                </a:cubicBezTo>
                <a:close/>
              </a:path>
            </a:pathLst>
          </a:custGeom>
          <a:solidFill>
            <a:srgbClr val="8FBFF9">
              <a:lumMod val="60000"/>
              <a:lumOff val="4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13" name="任意多边形: 形状 5">
            <a:extLst>
              <a:ext uri="{FF2B5EF4-FFF2-40B4-BE49-F238E27FC236}">
                <a16:creationId xmlns:a16="http://schemas.microsoft.com/office/drawing/2014/main" id="{B022E879-35B8-4679-A9A8-63D3D4401CE2}"/>
              </a:ext>
            </a:extLst>
          </p:cNvPr>
          <p:cNvSpPr/>
          <p:nvPr userDrawn="1"/>
        </p:nvSpPr>
        <p:spPr>
          <a:xfrm>
            <a:off x="-3175" y="-3175"/>
            <a:ext cx="4114800" cy="3454400"/>
          </a:xfrm>
          <a:custGeom>
            <a:avLst/>
            <a:gdLst>
              <a:gd name="connsiteX0" fmla="*/ 3175 w 4114800"/>
              <a:gd name="connsiteY0" fmla="*/ 3449320 h 3454400"/>
              <a:gd name="connsiteX1" fmla="*/ 661670 w 4114800"/>
              <a:gd name="connsiteY1" fmla="*/ 2989580 h 3454400"/>
              <a:gd name="connsiteX2" fmla="*/ 2552065 w 4114800"/>
              <a:gd name="connsiteY2" fmla="*/ 1466850 h 3454400"/>
              <a:gd name="connsiteX3" fmla="*/ 4074795 w 4114800"/>
              <a:gd name="connsiteY3" fmla="*/ 626745 h 3454400"/>
              <a:gd name="connsiteX4" fmla="*/ 3412490 w 4114800"/>
              <a:gd name="connsiteY4" fmla="*/ 3175 h 3454400"/>
              <a:gd name="connsiteX5" fmla="*/ 3175 w 4114800"/>
              <a:gd name="connsiteY5" fmla="*/ 3175 h 3454400"/>
              <a:gd name="connsiteX6" fmla="*/ 3175 w 4114800"/>
              <a:gd name="connsiteY6" fmla="*/ 3449320 h 3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4800" h="3454400">
                <a:moveTo>
                  <a:pt x="3175" y="3449320"/>
                </a:moveTo>
                <a:cubicBezTo>
                  <a:pt x="214630" y="3479165"/>
                  <a:pt x="483235" y="3389630"/>
                  <a:pt x="661670" y="2989580"/>
                </a:cubicBezTo>
                <a:cubicBezTo>
                  <a:pt x="1082040" y="2044065"/>
                  <a:pt x="1869440" y="1203960"/>
                  <a:pt x="2552065" y="1466850"/>
                </a:cubicBezTo>
                <a:cubicBezTo>
                  <a:pt x="3234690" y="1729740"/>
                  <a:pt x="4337685" y="1414145"/>
                  <a:pt x="4074795" y="626745"/>
                </a:cubicBezTo>
                <a:cubicBezTo>
                  <a:pt x="3990340" y="370205"/>
                  <a:pt x="3728085" y="164465"/>
                  <a:pt x="3412490" y="3175"/>
                </a:cubicBezTo>
                <a:lnTo>
                  <a:pt x="3175" y="3175"/>
                </a:lnTo>
                <a:lnTo>
                  <a:pt x="3175" y="3449320"/>
                </a:lnTo>
                <a:close/>
              </a:path>
            </a:pathLst>
          </a:custGeom>
          <a:solidFill>
            <a:srgbClr val="C1DC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14" name="任意多边形: 形状 6">
            <a:extLst>
              <a:ext uri="{FF2B5EF4-FFF2-40B4-BE49-F238E27FC236}">
                <a16:creationId xmlns:a16="http://schemas.microsoft.com/office/drawing/2014/main" id="{FD3C3680-6920-403D-BF86-14398F569C70}"/>
              </a:ext>
            </a:extLst>
          </p:cNvPr>
          <p:cNvSpPr/>
          <p:nvPr userDrawn="1"/>
        </p:nvSpPr>
        <p:spPr>
          <a:xfrm>
            <a:off x="-3175" y="-3175"/>
            <a:ext cx="3454400" cy="2876550"/>
          </a:xfrm>
          <a:custGeom>
            <a:avLst/>
            <a:gdLst>
              <a:gd name="connsiteX0" fmla="*/ 3175 w 3454400"/>
              <a:gd name="connsiteY0" fmla="*/ 2875280 h 2876550"/>
              <a:gd name="connsiteX1" fmla="*/ 511175 w 3454400"/>
              <a:gd name="connsiteY1" fmla="*/ 2478405 h 2876550"/>
              <a:gd name="connsiteX2" fmla="*/ 2123440 w 3454400"/>
              <a:gd name="connsiteY2" fmla="*/ 1179830 h 2876550"/>
              <a:gd name="connsiteX3" fmla="*/ 3422015 w 3454400"/>
              <a:gd name="connsiteY3" fmla="*/ 463550 h 2876550"/>
              <a:gd name="connsiteX4" fmla="*/ 2985135 w 3454400"/>
              <a:gd name="connsiteY4" fmla="*/ 3175 h 2876550"/>
              <a:gd name="connsiteX5" fmla="*/ 3175 w 3454400"/>
              <a:gd name="connsiteY5" fmla="*/ 3175 h 2876550"/>
              <a:gd name="connsiteX6" fmla="*/ 3175 w 3454400"/>
              <a:gd name="connsiteY6" fmla="*/ 2875280 h 287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4400" h="2876550">
                <a:moveTo>
                  <a:pt x="3175" y="2875280"/>
                </a:moveTo>
                <a:cubicBezTo>
                  <a:pt x="167005" y="2876550"/>
                  <a:pt x="375285" y="2783205"/>
                  <a:pt x="511175" y="2478405"/>
                </a:cubicBezTo>
                <a:cubicBezTo>
                  <a:pt x="869315" y="1672590"/>
                  <a:pt x="1541145" y="955675"/>
                  <a:pt x="2123440" y="1179830"/>
                </a:cubicBezTo>
                <a:cubicBezTo>
                  <a:pt x="2705735" y="1403985"/>
                  <a:pt x="3646170" y="1134745"/>
                  <a:pt x="3422015" y="463550"/>
                </a:cubicBezTo>
                <a:cubicBezTo>
                  <a:pt x="3361055" y="281305"/>
                  <a:pt x="3194685" y="128905"/>
                  <a:pt x="2985135" y="3175"/>
                </a:cubicBezTo>
                <a:lnTo>
                  <a:pt x="3175" y="3175"/>
                </a:lnTo>
                <a:lnTo>
                  <a:pt x="3175" y="2875280"/>
                </a:lnTo>
                <a:close/>
              </a:path>
            </a:pathLst>
          </a:custGeom>
          <a:solidFill>
            <a:srgbClr val="A8BF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15" name="任意多边形: 形状 7">
            <a:extLst>
              <a:ext uri="{FF2B5EF4-FFF2-40B4-BE49-F238E27FC236}">
                <a16:creationId xmlns:a16="http://schemas.microsoft.com/office/drawing/2014/main" id="{09B0EA7E-BB83-4657-94D9-2C3B9030ACD3}"/>
              </a:ext>
            </a:extLst>
          </p:cNvPr>
          <p:cNvSpPr/>
          <p:nvPr userDrawn="1"/>
        </p:nvSpPr>
        <p:spPr>
          <a:xfrm>
            <a:off x="717550" y="533400"/>
            <a:ext cx="10756900" cy="5791200"/>
          </a:xfrm>
          <a:prstGeom prst="roundRect">
            <a:avLst>
              <a:gd name="adj" fmla="val 3885"/>
            </a:avLst>
          </a:prstGeom>
          <a:solidFill>
            <a:srgbClr val="FFFFFF"/>
          </a:solidFill>
          <a:ln w="6350" cap="flat">
            <a:noFill/>
            <a:prstDash val="solid"/>
            <a:miter/>
          </a:ln>
          <a:effectLst>
            <a:outerShdw blurRad="228600" dist="38100" dir="2700000" algn="tl" rotWithShape="0">
              <a:schemeClr val="accent1">
                <a:lumMod val="60000"/>
                <a:lumOff val="40000"/>
                <a:alpha val="26000"/>
              </a:scheme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20" name="任意多边形: 形状 9852">
            <a:extLst>
              <a:ext uri="{FF2B5EF4-FFF2-40B4-BE49-F238E27FC236}">
                <a16:creationId xmlns:a16="http://schemas.microsoft.com/office/drawing/2014/main" id="{5768ACB9-8152-46E7-9094-AF576368C7BC}"/>
              </a:ext>
            </a:extLst>
          </p:cNvPr>
          <p:cNvSpPr/>
          <p:nvPr userDrawn="1"/>
        </p:nvSpPr>
        <p:spPr>
          <a:xfrm>
            <a:off x="717550" y="533400"/>
            <a:ext cx="3390900" cy="2317750"/>
          </a:xfrm>
          <a:custGeom>
            <a:avLst/>
            <a:gdLst>
              <a:gd name="connsiteX0" fmla="*/ 3175 w 3390900"/>
              <a:gd name="connsiteY0" fmla="*/ 2318385 h 2317750"/>
              <a:gd name="connsiteX1" fmla="*/ 1831340 w 3390900"/>
              <a:gd name="connsiteY1" fmla="*/ 929640 h 2317750"/>
              <a:gd name="connsiteX2" fmla="*/ 3354070 w 3390900"/>
              <a:gd name="connsiteY2" fmla="*/ 89535 h 2317750"/>
              <a:gd name="connsiteX3" fmla="*/ 3317875 w 3390900"/>
              <a:gd name="connsiteY3" fmla="*/ 3175 h 2317750"/>
              <a:gd name="connsiteX4" fmla="*/ 3175 w 3390900"/>
              <a:gd name="connsiteY4" fmla="*/ 3175 h 2317750"/>
              <a:gd name="connsiteX5" fmla="*/ 3175 w 3390900"/>
              <a:gd name="connsiteY5" fmla="*/ 2318385 h 23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90900" h="2317750">
                <a:moveTo>
                  <a:pt x="3175" y="2318385"/>
                </a:moveTo>
                <a:cubicBezTo>
                  <a:pt x="435610" y="1430020"/>
                  <a:pt x="1181100" y="679450"/>
                  <a:pt x="1831340" y="929640"/>
                </a:cubicBezTo>
                <a:cubicBezTo>
                  <a:pt x="2513965" y="1192530"/>
                  <a:pt x="3616960" y="876935"/>
                  <a:pt x="3354070" y="89535"/>
                </a:cubicBezTo>
                <a:cubicBezTo>
                  <a:pt x="3344545" y="60325"/>
                  <a:pt x="3331845" y="31115"/>
                  <a:pt x="3317875" y="3175"/>
                </a:cubicBezTo>
                <a:lnTo>
                  <a:pt x="3175" y="3175"/>
                </a:lnTo>
                <a:lnTo>
                  <a:pt x="3175" y="2318385"/>
                </a:lnTo>
                <a:close/>
              </a:path>
            </a:pathLst>
          </a:custGeom>
          <a:solidFill>
            <a:srgbClr val="C1DC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21" name="任意多边形: 形状 9853">
            <a:extLst>
              <a:ext uri="{FF2B5EF4-FFF2-40B4-BE49-F238E27FC236}">
                <a16:creationId xmlns:a16="http://schemas.microsoft.com/office/drawing/2014/main" id="{1D6433B4-443D-497B-B60E-9CFC49A0DFCD}"/>
              </a:ext>
            </a:extLst>
          </p:cNvPr>
          <p:cNvSpPr/>
          <p:nvPr userDrawn="1"/>
        </p:nvSpPr>
        <p:spPr>
          <a:xfrm>
            <a:off x="717550" y="533400"/>
            <a:ext cx="2736850" cy="1536700"/>
          </a:xfrm>
          <a:custGeom>
            <a:avLst/>
            <a:gdLst>
              <a:gd name="connsiteX0" fmla="*/ 3175 w 2736850"/>
              <a:gd name="connsiteY0" fmla="*/ 1534160 h 1536700"/>
              <a:gd name="connsiteX1" fmla="*/ 1402080 w 2736850"/>
              <a:gd name="connsiteY1" fmla="*/ 643255 h 1536700"/>
              <a:gd name="connsiteX2" fmla="*/ 2721610 w 2736850"/>
              <a:gd name="connsiteY2" fmla="*/ 3175 h 1536700"/>
              <a:gd name="connsiteX3" fmla="*/ 3175 w 2736850"/>
              <a:gd name="connsiteY3" fmla="*/ 3175 h 1536700"/>
              <a:gd name="connsiteX4" fmla="*/ 3175 w 2736850"/>
              <a:gd name="connsiteY4" fmla="*/ 1534160 h 153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36850" h="1536700">
                <a:moveTo>
                  <a:pt x="3175" y="1534160"/>
                </a:moveTo>
                <a:cubicBezTo>
                  <a:pt x="379095" y="915035"/>
                  <a:pt x="921385" y="458470"/>
                  <a:pt x="1402080" y="643255"/>
                </a:cubicBezTo>
                <a:cubicBezTo>
                  <a:pt x="1961515" y="858520"/>
                  <a:pt x="2852420" y="618490"/>
                  <a:pt x="2721610" y="3175"/>
                </a:cubicBezTo>
                <a:lnTo>
                  <a:pt x="3175" y="3175"/>
                </a:lnTo>
                <a:lnTo>
                  <a:pt x="3175" y="1534160"/>
                </a:lnTo>
                <a:close/>
              </a:path>
            </a:pathLst>
          </a:custGeom>
          <a:solidFill>
            <a:srgbClr val="ABC2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383699" y="1835871"/>
            <a:ext cx="5470981" cy="128908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0E457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83698" y="3152811"/>
            <a:ext cx="5844995" cy="42570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0E457D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3698" y="4484238"/>
            <a:ext cx="2315101" cy="258922"/>
          </a:xfrm>
          <a:prstGeom prst="roundRect">
            <a:avLst>
              <a:gd name="adj" fmla="val 43154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83699" y="4854433"/>
            <a:ext cx="5844996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E457D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02F86C1-24CD-49C9-B4DA-98D45882771F}"/>
              </a:ext>
            </a:extLst>
          </p:cNvPr>
          <p:cNvGrpSpPr/>
          <p:nvPr userDrawn="1"/>
        </p:nvGrpSpPr>
        <p:grpSpPr>
          <a:xfrm>
            <a:off x="5889782" y="893221"/>
            <a:ext cx="5228505" cy="5016206"/>
            <a:chOff x="5889782" y="893221"/>
            <a:chExt cx="5228505" cy="5016206"/>
          </a:xfrm>
        </p:grpSpPr>
        <p:sp>
          <p:nvSpPr>
            <p:cNvPr id="1128" name="îṣḷïde">
              <a:extLst>
                <a:ext uri="{FF2B5EF4-FFF2-40B4-BE49-F238E27FC236}">
                  <a16:creationId xmlns:a16="http://schemas.microsoft.com/office/drawing/2014/main" id="{0BAACA35-B8F5-49E4-BDF2-28AD92F51B89}"/>
                </a:ext>
              </a:extLst>
            </p:cNvPr>
            <p:cNvSpPr/>
            <p:nvPr userDrawn="1"/>
          </p:nvSpPr>
          <p:spPr bwMode="auto">
            <a:xfrm>
              <a:off x="6241970" y="2667325"/>
              <a:ext cx="648420" cy="1525598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29" name="ïšḻíḍê">
              <a:extLst>
                <a:ext uri="{FF2B5EF4-FFF2-40B4-BE49-F238E27FC236}">
                  <a16:creationId xmlns:a16="http://schemas.microsoft.com/office/drawing/2014/main" id="{51781B7F-5616-415D-B826-A2DBE6904BE6}"/>
                </a:ext>
              </a:extLst>
            </p:cNvPr>
            <p:cNvSpPr/>
            <p:nvPr userDrawn="1"/>
          </p:nvSpPr>
          <p:spPr bwMode="auto">
            <a:xfrm>
              <a:off x="6783417" y="2667325"/>
              <a:ext cx="106973" cy="255090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0" name="íšḷiḑe">
              <a:extLst>
                <a:ext uri="{FF2B5EF4-FFF2-40B4-BE49-F238E27FC236}">
                  <a16:creationId xmlns:a16="http://schemas.microsoft.com/office/drawing/2014/main" id="{36D4FDD1-D4E5-4DCD-B2B0-AA38156B2677}"/>
                </a:ext>
              </a:extLst>
            </p:cNvPr>
            <p:cNvSpPr/>
            <p:nvPr userDrawn="1"/>
          </p:nvSpPr>
          <p:spPr bwMode="auto">
            <a:xfrm>
              <a:off x="8944269" y="1284906"/>
              <a:ext cx="1456477" cy="1454831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1" name="îṩ1iḑé">
              <a:extLst>
                <a:ext uri="{FF2B5EF4-FFF2-40B4-BE49-F238E27FC236}">
                  <a16:creationId xmlns:a16="http://schemas.microsoft.com/office/drawing/2014/main" id="{EB56D6B5-B21E-4122-A4AE-60BD6B59BB85}"/>
                </a:ext>
              </a:extLst>
            </p:cNvPr>
            <p:cNvSpPr/>
            <p:nvPr userDrawn="1"/>
          </p:nvSpPr>
          <p:spPr bwMode="auto">
            <a:xfrm>
              <a:off x="10476450" y="1681529"/>
              <a:ext cx="641837" cy="641837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2" name="ïṧ1îďê">
              <a:extLst>
                <a:ext uri="{FF2B5EF4-FFF2-40B4-BE49-F238E27FC236}">
                  <a16:creationId xmlns:a16="http://schemas.microsoft.com/office/drawing/2014/main" id="{980274B5-FEE3-4ADA-B6E6-89346A994BEF}"/>
                </a:ext>
              </a:extLst>
            </p:cNvPr>
            <p:cNvSpPr/>
            <p:nvPr userDrawn="1"/>
          </p:nvSpPr>
          <p:spPr bwMode="auto">
            <a:xfrm>
              <a:off x="8132921" y="893221"/>
              <a:ext cx="947944" cy="944653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3" name="íşlïďê">
              <a:extLst>
                <a:ext uri="{FF2B5EF4-FFF2-40B4-BE49-F238E27FC236}">
                  <a16:creationId xmlns:a16="http://schemas.microsoft.com/office/drawing/2014/main" id="{85DB3A15-AB74-4EC4-89E1-54F8EC958C30}"/>
                </a:ext>
              </a:extLst>
            </p:cNvPr>
            <p:cNvSpPr/>
            <p:nvPr userDrawn="1"/>
          </p:nvSpPr>
          <p:spPr bwMode="auto">
            <a:xfrm>
              <a:off x="5889782" y="4192923"/>
              <a:ext cx="5045828" cy="130014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4" name="íśḷïdè">
              <a:extLst>
                <a:ext uri="{FF2B5EF4-FFF2-40B4-BE49-F238E27FC236}">
                  <a16:creationId xmlns:a16="http://schemas.microsoft.com/office/drawing/2014/main" id="{DF070FDD-3B3F-42A2-9C90-11DE14A3DA5C}"/>
                </a:ext>
              </a:extLst>
            </p:cNvPr>
            <p:cNvSpPr/>
            <p:nvPr userDrawn="1"/>
          </p:nvSpPr>
          <p:spPr bwMode="auto">
            <a:xfrm>
              <a:off x="5893073" y="4285085"/>
              <a:ext cx="5037600" cy="3785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5" name="îṥlïḋê">
              <a:extLst>
                <a:ext uri="{FF2B5EF4-FFF2-40B4-BE49-F238E27FC236}">
                  <a16:creationId xmlns:a16="http://schemas.microsoft.com/office/drawing/2014/main" id="{5AA64555-A021-4CA7-A924-45D5A726CC58}"/>
                </a:ext>
              </a:extLst>
            </p:cNvPr>
            <p:cNvSpPr/>
            <p:nvPr userDrawn="1"/>
          </p:nvSpPr>
          <p:spPr bwMode="auto">
            <a:xfrm>
              <a:off x="7403859" y="4123802"/>
              <a:ext cx="1823476" cy="69121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6" name="îṣľíḑê">
              <a:extLst>
                <a:ext uri="{FF2B5EF4-FFF2-40B4-BE49-F238E27FC236}">
                  <a16:creationId xmlns:a16="http://schemas.microsoft.com/office/drawing/2014/main" id="{6FB22006-4AD4-4B3C-8AE3-96A4C69E8CA9}"/>
                </a:ext>
              </a:extLst>
            </p:cNvPr>
            <p:cNvSpPr/>
            <p:nvPr userDrawn="1"/>
          </p:nvSpPr>
          <p:spPr bwMode="auto">
            <a:xfrm>
              <a:off x="7589828" y="4123802"/>
              <a:ext cx="1823476" cy="69121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7" name="iṩ1idè">
              <a:extLst>
                <a:ext uri="{FF2B5EF4-FFF2-40B4-BE49-F238E27FC236}">
                  <a16:creationId xmlns:a16="http://schemas.microsoft.com/office/drawing/2014/main" id="{14D09A72-7FDC-4DF1-9BB5-DD2BDB039053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826768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9" name="ïŝḻïḓè">
              <a:extLst>
                <a:ext uri="{FF2B5EF4-FFF2-40B4-BE49-F238E27FC236}">
                  <a16:creationId xmlns:a16="http://schemas.microsoft.com/office/drawing/2014/main" id="{C3DB54A8-9D12-4E09-8326-69DA8BA64F54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90905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0" name="íṧľîḑe">
              <a:extLst>
                <a:ext uri="{FF2B5EF4-FFF2-40B4-BE49-F238E27FC236}">
                  <a16:creationId xmlns:a16="http://schemas.microsoft.com/office/drawing/2014/main" id="{D06E1C7D-10B1-46DD-8837-D0D9ED23AF29}"/>
                </a:ext>
              </a:extLst>
            </p:cNvPr>
            <p:cNvSpPr/>
            <p:nvPr userDrawn="1"/>
          </p:nvSpPr>
          <p:spPr bwMode="auto">
            <a:xfrm>
              <a:off x="8649682" y="2815441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1" name="ísļídè">
              <a:extLst>
                <a:ext uri="{FF2B5EF4-FFF2-40B4-BE49-F238E27FC236}">
                  <a16:creationId xmlns:a16="http://schemas.microsoft.com/office/drawing/2014/main" id="{540BD6BA-B67B-4C03-9BC3-ED00C075C9EF}"/>
                </a:ext>
              </a:extLst>
            </p:cNvPr>
            <p:cNvSpPr/>
            <p:nvPr userDrawn="1"/>
          </p:nvSpPr>
          <p:spPr bwMode="auto">
            <a:xfrm>
              <a:off x="8649682" y="2948746"/>
              <a:ext cx="503595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2" name="îSlíḑè">
              <a:extLst>
                <a:ext uri="{FF2B5EF4-FFF2-40B4-BE49-F238E27FC236}">
                  <a16:creationId xmlns:a16="http://schemas.microsoft.com/office/drawing/2014/main" id="{48D2C1FF-CA7F-4364-ACA8-E86E9C4A2FB9}"/>
                </a:ext>
              </a:extLst>
            </p:cNvPr>
            <p:cNvSpPr/>
            <p:nvPr userDrawn="1"/>
          </p:nvSpPr>
          <p:spPr bwMode="auto">
            <a:xfrm>
              <a:off x="9204295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3" name="ïslíďê">
              <a:extLst>
                <a:ext uri="{FF2B5EF4-FFF2-40B4-BE49-F238E27FC236}">
                  <a16:creationId xmlns:a16="http://schemas.microsoft.com/office/drawing/2014/main" id="{ABB148EF-2A54-4095-9A91-5040573014B5}"/>
                </a:ext>
              </a:extLst>
            </p:cNvPr>
            <p:cNvSpPr/>
            <p:nvPr userDrawn="1"/>
          </p:nvSpPr>
          <p:spPr bwMode="auto">
            <a:xfrm>
              <a:off x="8649682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4" name="íṥļïďé">
              <a:extLst>
                <a:ext uri="{FF2B5EF4-FFF2-40B4-BE49-F238E27FC236}">
                  <a16:creationId xmlns:a16="http://schemas.microsoft.com/office/drawing/2014/main" id="{873428B1-5B23-4769-A0A3-FD01B2E619AC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5" name="ïṧḻiďê">
              <a:extLst>
                <a:ext uri="{FF2B5EF4-FFF2-40B4-BE49-F238E27FC236}">
                  <a16:creationId xmlns:a16="http://schemas.microsoft.com/office/drawing/2014/main" id="{EB0837A3-A486-4C63-99EC-8F080016F569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6" name="îṩḻiḓê">
              <a:extLst>
                <a:ext uri="{FF2B5EF4-FFF2-40B4-BE49-F238E27FC236}">
                  <a16:creationId xmlns:a16="http://schemas.microsoft.com/office/drawing/2014/main" id="{406BF31B-9AB2-44E3-9C34-ECFB97EF68DF}"/>
                </a:ext>
              </a:extLst>
            </p:cNvPr>
            <p:cNvSpPr/>
            <p:nvPr userDrawn="1"/>
          </p:nvSpPr>
          <p:spPr bwMode="auto">
            <a:xfrm>
              <a:off x="9146695" y="2815441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7" name="îŝ1îḍê">
              <a:extLst>
                <a:ext uri="{FF2B5EF4-FFF2-40B4-BE49-F238E27FC236}">
                  <a16:creationId xmlns:a16="http://schemas.microsoft.com/office/drawing/2014/main" id="{2A055191-2855-4659-8E24-A69CF63CC376}"/>
                </a:ext>
              </a:extLst>
            </p:cNvPr>
            <p:cNvSpPr/>
            <p:nvPr userDrawn="1"/>
          </p:nvSpPr>
          <p:spPr bwMode="auto">
            <a:xfrm>
              <a:off x="8649682" y="2185125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8" name="iṩ1îďé">
              <a:extLst>
                <a:ext uri="{FF2B5EF4-FFF2-40B4-BE49-F238E27FC236}">
                  <a16:creationId xmlns:a16="http://schemas.microsoft.com/office/drawing/2014/main" id="{48CEF17B-25F9-497F-A827-D0119AD60755}"/>
                </a:ext>
              </a:extLst>
            </p:cNvPr>
            <p:cNvSpPr/>
            <p:nvPr userDrawn="1"/>
          </p:nvSpPr>
          <p:spPr bwMode="auto">
            <a:xfrm>
              <a:off x="8649682" y="2320075"/>
              <a:ext cx="503595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9" name="iSḻíḍe">
              <a:extLst>
                <a:ext uri="{FF2B5EF4-FFF2-40B4-BE49-F238E27FC236}">
                  <a16:creationId xmlns:a16="http://schemas.microsoft.com/office/drawing/2014/main" id="{F225C5E7-7304-4C79-BFAE-2F8B07F08B2D}"/>
                </a:ext>
              </a:extLst>
            </p:cNvPr>
            <p:cNvSpPr/>
            <p:nvPr userDrawn="1"/>
          </p:nvSpPr>
          <p:spPr bwMode="auto">
            <a:xfrm>
              <a:off x="9204295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0" name="íṥ1iḍè">
              <a:extLst>
                <a:ext uri="{FF2B5EF4-FFF2-40B4-BE49-F238E27FC236}">
                  <a16:creationId xmlns:a16="http://schemas.microsoft.com/office/drawing/2014/main" id="{200E071C-D07C-40C7-8E35-2466C97BE710}"/>
                </a:ext>
              </a:extLst>
            </p:cNvPr>
            <p:cNvSpPr/>
            <p:nvPr userDrawn="1"/>
          </p:nvSpPr>
          <p:spPr bwMode="auto">
            <a:xfrm>
              <a:off x="8649682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1" name="íṡ1íḓe">
              <a:extLst>
                <a:ext uri="{FF2B5EF4-FFF2-40B4-BE49-F238E27FC236}">
                  <a16:creationId xmlns:a16="http://schemas.microsoft.com/office/drawing/2014/main" id="{BE25401D-960A-4B1C-B168-DBFF07FF2D3A}"/>
                </a:ext>
              </a:extLst>
            </p:cNvPr>
            <p:cNvSpPr/>
            <p:nvPr userDrawn="1"/>
          </p:nvSpPr>
          <p:spPr bwMode="auto">
            <a:xfrm>
              <a:off x="8916292" y="2453379"/>
              <a:ext cx="742228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2" name="íŝľíḑe">
              <a:extLst>
                <a:ext uri="{FF2B5EF4-FFF2-40B4-BE49-F238E27FC236}">
                  <a16:creationId xmlns:a16="http://schemas.microsoft.com/office/drawing/2014/main" id="{C5B4C4D9-139F-4D4F-94BF-58A605B41A48}"/>
                </a:ext>
              </a:extLst>
            </p:cNvPr>
            <p:cNvSpPr/>
            <p:nvPr userDrawn="1"/>
          </p:nvSpPr>
          <p:spPr bwMode="auto">
            <a:xfrm>
              <a:off x="9146695" y="2185125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3" name="ïṥ1îḓè">
              <a:extLst>
                <a:ext uri="{FF2B5EF4-FFF2-40B4-BE49-F238E27FC236}">
                  <a16:creationId xmlns:a16="http://schemas.microsoft.com/office/drawing/2014/main" id="{45897B7C-5CF3-4D23-B816-3B2A57853241}"/>
                </a:ext>
              </a:extLst>
            </p:cNvPr>
            <p:cNvSpPr/>
            <p:nvPr userDrawn="1"/>
          </p:nvSpPr>
          <p:spPr bwMode="auto">
            <a:xfrm>
              <a:off x="7280430" y="2815441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4" name="íṡḷidê">
              <a:extLst>
                <a:ext uri="{FF2B5EF4-FFF2-40B4-BE49-F238E27FC236}">
                  <a16:creationId xmlns:a16="http://schemas.microsoft.com/office/drawing/2014/main" id="{A916F33C-EA89-49B2-A647-F1E9D5793283}"/>
                </a:ext>
              </a:extLst>
            </p:cNvPr>
            <p:cNvSpPr/>
            <p:nvPr userDrawn="1"/>
          </p:nvSpPr>
          <p:spPr bwMode="auto">
            <a:xfrm>
              <a:off x="7280430" y="2948746"/>
              <a:ext cx="501950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5" name="ïSḻïḑe">
              <a:extLst>
                <a:ext uri="{FF2B5EF4-FFF2-40B4-BE49-F238E27FC236}">
                  <a16:creationId xmlns:a16="http://schemas.microsoft.com/office/drawing/2014/main" id="{40732D72-1904-41BF-967A-052BF1D55673}"/>
                </a:ext>
              </a:extLst>
            </p:cNvPr>
            <p:cNvSpPr/>
            <p:nvPr userDrawn="1"/>
          </p:nvSpPr>
          <p:spPr bwMode="auto">
            <a:xfrm>
              <a:off x="7835042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6" name="ïŝlîḋe">
              <a:extLst>
                <a:ext uri="{FF2B5EF4-FFF2-40B4-BE49-F238E27FC236}">
                  <a16:creationId xmlns:a16="http://schemas.microsoft.com/office/drawing/2014/main" id="{03A6DF9F-0C46-4097-893F-268FE8AC6CE9}"/>
                </a:ext>
              </a:extLst>
            </p:cNvPr>
            <p:cNvSpPr/>
            <p:nvPr userDrawn="1"/>
          </p:nvSpPr>
          <p:spPr bwMode="auto">
            <a:xfrm>
              <a:off x="7280430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7" name="ïṣḷidè">
              <a:extLst>
                <a:ext uri="{FF2B5EF4-FFF2-40B4-BE49-F238E27FC236}">
                  <a16:creationId xmlns:a16="http://schemas.microsoft.com/office/drawing/2014/main" id="{8E5AE3FF-52EE-43D9-8424-2990E578D4D6}"/>
                </a:ext>
              </a:extLst>
            </p:cNvPr>
            <p:cNvSpPr/>
            <p:nvPr userDrawn="1"/>
          </p:nvSpPr>
          <p:spPr bwMode="auto">
            <a:xfrm>
              <a:off x="7548684" y="3082051"/>
              <a:ext cx="737290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8" name="íṧľîḓê">
              <a:extLst>
                <a:ext uri="{FF2B5EF4-FFF2-40B4-BE49-F238E27FC236}">
                  <a16:creationId xmlns:a16="http://schemas.microsoft.com/office/drawing/2014/main" id="{B7C6134D-3669-40C7-90EF-C583EF46ACA0}"/>
                </a:ext>
              </a:extLst>
            </p:cNvPr>
            <p:cNvSpPr/>
            <p:nvPr userDrawn="1"/>
          </p:nvSpPr>
          <p:spPr bwMode="auto">
            <a:xfrm>
              <a:off x="7777442" y="2815441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9" name="ïšḷîḓe">
              <a:extLst>
                <a:ext uri="{FF2B5EF4-FFF2-40B4-BE49-F238E27FC236}">
                  <a16:creationId xmlns:a16="http://schemas.microsoft.com/office/drawing/2014/main" id="{EB0E05C4-9AAA-4268-AE57-D0A5C45F17E5}"/>
                </a:ext>
              </a:extLst>
            </p:cNvPr>
            <p:cNvSpPr/>
            <p:nvPr userDrawn="1"/>
          </p:nvSpPr>
          <p:spPr bwMode="auto">
            <a:xfrm>
              <a:off x="7280430" y="2185125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0" name="îśliḍé">
              <a:extLst>
                <a:ext uri="{FF2B5EF4-FFF2-40B4-BE49-F238E27FC236}">
                  <a16:creationId xmlns:a16="http://schemas.microsoft.com/office/drawing/2014/main" id="{452F5EF2-338C-4F52-A8F8-A30DD2745932}"/>
                </a:ext>
              </a:extLst>
            </p:cNvPr>
            <p:cNvSpPr/>
            <p:nvPr userDrawn="1"/>
          </p:nvSpPr>
          <p:spPr bwMode="auto">
            <a:xfrm>
              <a:off x="7280430" y="2320075"/>
              <a:ext cx="501950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1" name="iṥ1iḍê">
              <a:extLst>
                <a:ext uri="{FF2B5EF4-FFF2-40B4-BE49-F238E27FC236}">
                  <a16:creationId xmlns:a16="http://schemas.microsoft.com/office/drawing/2014/main" id="{8EE38444-E3C8-4A2C-8CE9-D938B1A49990}"/>
                </a:ext>
              </a:extLst>
            </p:cNvPr>
            <p:cNvSpPr/>
            <p:nvPr userDrawn="1"/>
          </p:nvSpPr>
          <p:spPr bwMode="auto">
            <a:xfrm>
              <a:off x="7835042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2" name="ïSlïḑe">
              <a:extLst>
                <a:ext uri="{FF2B5EF4-FFF2-40B4-BE49-F238E27FC236}">
                  <a16:creationId xmlns:a16="http://schemas.microsoft.com/office/drawing/2014/main" id="{B672D154-68A6-4442-AF47-A18575FB19D8}"/>
                </a:ext>
              </a:extLst>
            </p:cNvPr>
            <p:cNvSpPr/>
            <p:nvPr userDrawn="1"/>
          </p:nvSpPr>
          <p:spPr bwMode="auto">
            <a:xfrm>
              <a:off x="7280430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3" name="ïśľîďe">
              <a:extLst>
                <a:ext uri="{FF2B5EF4-FFF2-40B4-BE49-F238E27FC236}">
                  <a16:creationId xmlns:a16="http://schemas.microsoft.com/office/drawing/2014/main" id="{ADAF3EE8-D7DE-489F-B071-21F62183CA87}"/>
                </a:ext>
              </a:extLst>
            </p:cNvPr>
            <p:cNvSpPr/>
            <p:nvPr userDrawn="1"/>
          </p:nvSpPr>
          <p:spPr bwMode="auto">
            <a:xfrm>
              <a:off x="7548684" y="2453379"/>
              <a:ext cx="737290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4" name="îṡľiďé">
              <a:extLst>
                <a:ext uri="{FF2B5EF4-FFF2-40B4-BE49-F238E27FC236}">
                  <a16:creationId xmlns:a16="http://schemas.microsoft.com/office/drawing/2014/main" id="{A52F0A3B-06FE-469A-8377-CC27084C8BED}"/>
                </a:ext>
              </a:extLst>
            </p:cNvPr>
            <p:cNvSpPr/>
            <p:nvPr userDrawn="1"/>
          </p:nvSpPr>
          <p:spPr bwMode="auto">
            <a:xfrm>
              <a:off x="7777442" y="2185125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5" name="ís1iḋê">
              <a:extLst>
                <a:ext uri="{FF2B5EF4-FFF2-40B4-BE49-F238E27FC236}">
                  <a16:creationId xmlns:a16="http://schemas.microsoft.com/office/drawing/2014/main" id="{D57A5B1F-346A-4492-9CC0-4255B170E7E6}"/>
                </a:ext>
              </a:extLst>
            </p:cNvPr>
            <p:cNvSpPr/>
            <p:nvPr userDrawn="1"/>
          </p:nvSpPr>
          <p:spPr bwMode="auto">
            <a:xfrm>
              <a:off x="6890390" y="1816480"/>
              <a:ext cx="3054487" cy="1948552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7" name="iSľíḑé">
              <a:extLst>
                <a:ext uri="{FF2B5EF4-FFF2-40B4-BE49-F238E27FC236}">
                  <a16:creationId xmlns:a16="http://schemas.microsoft.com/office/drawing/2014/main" id="{38B1ACC9-D7E8-4AF2-B7EE-99DF6094FC5A}"/>
                </a:ext>
              </a:extLst>
            </p:cNvPr>
            <p:cNvSpPr/>
            <p:nvPr userDrawn="1"/>
          </p:nvSpPr>
          <p:spPr bwMode="auto">
            <a:xfrm>
              <a:off x="9424824" y="3142943"/>
              <a:ext cx="106973" cy="8229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8" name="îslîďè">
              <a:extLst>
                <a:ext uri="{FF2B5EF4-FFF2-40B4-BE49-F238E27FC236}">
                  <a16:creationId xmlns:a16="http://schemas.microsoft.com/office/drawing/2014/main" id="{DC52AEDF-331F-417B-91C2-5647FB3772C0}"/>
                </a:ext>
              </a:extLst>
            </p:cNvPr>
            <p:cNvSpPr/>
            <p:nvPr userDrawn="1"/>
          </p:nvSpPr>
          <p:spPr bwMode="auto">
            <a:xfrm>
              <a:off x="9268479" y="3371700"/>
              <a:ext cx="653358" cy="386749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9" name="îSľiḑe">
              <a:extLst>
                <a:ext uri="{FF2B5EF4-FFF2-40B4-BE49-F238E27FC236}">
                  <a16:creationId xmlns:a16="http://schemas.microsoft.com/office/drawing/2014/main" id="{3F70D03F-0E09-490C-95E8-11A4013CB827}"/>
                </a:ext>
              </a:extLst>
            </p:cNvPr>
            <p:cNvSpPr/>
            <p:nvPr userDrawn="1"/>
          </p:nvSpPr>
          <p:spPr bwMode="auto">
            <a:xfrm>
              <a:off x="7017112" y="1906995"/>
              <a:ext cx="2805981" cy="115202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0" name="íSļíḓè">
              <a:extLst>
                <a:ext uri="{FF2B5EF4-FFF2-40B4-BE49-F238E27FC236}">
                  <a16:creationId xmlns:a16="http://schemas.microsoft.com/office/drawing/2014/main" id="{47E22736-BFE4-440D-975A-C20257A3F918}"/>
                </a:ext>
              </a:extLst>
            </p:cNvPr>
            <p:cNvSpPr/>
            <p:nvPr userDrawn="1"/>
          </p:nvSpPr>
          <p:spPr bwMode="auto">
            <a:xfrm>
              <a:off x="6890390" y="3532982"/>
              <a:ext cx="3054487" cy="232049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1" name="ïṧḻídé">
              <a:extLst>
                <a:ext uri="{FF2B5EF4-FFF2-40B4-BE49-F238E27FC236}">
                  <a16:creationId xmlns:a16="http://schemas.microsoft.com/office/drawing/2014/main" id="{1E2D50C2-413C-4015-B222-2A29038F76B0}"/>
                </a:ext>
              </a:extLst>
            </p:cNvPr>
            <p:cNvSpPr/>
            <p:nvPr userDrawn="1"/>
          </p:nvSpPr>
          <p:spPr bwMode="auto">
            <a:xfrm>
              <a:off x="9627250" y="1976116"/>
              <a:ext cx="62538" cy="60893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2" name="iṧlïḋê">
              <a:extLst>
                <a:ext uri="{FF2B5EF4-FFF2-40B4-BE49-F238E27FC236}">
                  <a16:creationId xmlns:a16="http://schemas.microsoft.com/office/drawing/2014/main" id="{4C7A2F1F-B975-468D-93B1-704F7B7AEDA6}"/>
                </a:ext>
              </a:extLst>
            </p:cNvPr>
            <p:cNvSpPr/>
            <p:nvPr userDrawn="1"/>
          </p:nvSpPr>
          <p:spPr bwMode="auto">
            <a:xfrm>
              <a:off x="9520276" y="1976116"/>
              <a:ext cx="62538" cy="6089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3" name="ïSḷîḍê">
              <a:extLst>
                <a:ext uri="{FF2B5EF4-FFF2-40B4-BE49-F238E27FC236}">
                  <a16:creationId xmlns:a16="http://schemas.microsoft.com/office/drawing/2014/main" id="{7C0A5E28-BECA-42F0-ABAA-726549D61AFD}"/>
                </a:ext>
              </a:extLst>
            </p:cNvPr>
            <p:cNvSpPr/>
            <p:nvPr userDrawn="1"/>
          </p:nvSpPr>
          <p:spPr bwMode="auto">
            <a:xfrm>
              <a:off x="9413304" y="1976116"/>
              <a:ext cx="62538" cy="60893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4" name="íşlîḍe">
              <a:extLst>
                <a:ext uri="{FF2B5EF4-FFF2-40B4-BE49-F238E27FC236}">
                  <a16:creationId xmlns:a16="http://schemas.microsoft.com/office/drawing/2014/main" id="{1A89977D-8D6E-419C-B458-1008D447951A}"/>
                </a:ext>
              </a:extLst>
            </p:cNvPr>
            <p:cNvSpPr/>
            <p:nvPr userDrawn="1"/>
          </p:nvSpPr>
          <p:spPr bwMode="auto">
            <a:xfrm>
              <a:off x="6696193" y="2598204"/>
              <a:ext cx="768559" cy="1594719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5" name="îṧliḓe">
              <a:extLst>
                <a:ext uri="{FF2B5EF4-FFF2-40B4-BE49-F238E27FC236}">
                  <a16:creationId xmlns:a16="http://schemas.microsoft.com/office/drawing/2014/main" id="{854CA286-7FF2-442C-8399-AC07CD799772}"/>
                </a:ext>
              </a:extLst>
            </p:cNvPr>
            <p:cNvSpPr/>
            <p:nvPr userDrawn="1"/>
          </p:nvSpPr>
          <p:spPr bwMode="auto">
            <a:xfrm>
              <a:off x="6806458" y="2876334"/>
              <a:ext cx="473972" cy="98744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6" name="ïšľïḍê">
              <a:extLst>
                <a:ext uri="{FF2B5EF4-FFF2-40B4-BE49-F238E27FC236}">
                  <a16:creationId xmlns:a16="http://schemas.microsoft.com/office/drawing/2014/main" id="{FA9B1DE8-7D4C-47AB-BD10-9F427F3643EB}"/>
                </a:ext>
              </a:extLst>
            </p:cNvPr>
            <p:cNvSpPr/>
            <p:nvPr userDrawn="1"/>
          </p:nvSpPr>
          <p:spPr bwMode="auto">
            <a:xfrm>
              <a:off x="6676444" y="3226875"/>
              <a:ext cx="470681" cy="10039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7" name="ïṡ1îḍe">
              <a:extLst>
                <a:ext uri="{FF2B5EF4-FFF2-40B4-BE49-F238E27FC236}">
                  <a16:creationId xmlns:a16="http://schemas.microsoft.com/office/drawing/2014/main" id="{2093210A-1156-45DB-BB4C-0DCE7AD0D875}"/>
                </a:ext>
              </a:extLst>
            </p:cNvPr>
            <p:cNvSpPr/>
            <p:nvPr userDrawn="1"/>
          </p:nvSpPr>
          <p:spPr bwMode="auto">
            <a:xfrm>
              <a:off x="6523391" y="3579063"/>
              <a:ext cx="482201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8" name="iṧḷídè">
              <a:extLst>
                <a:ext uri="{FF2B5EF4-FFF2-40B4-BE49-F238E27FC236}">
                  <a16:creationId xmlns:a16="http://schemas.microsoft.com/office/drawing/2014/main" id="{85B7D714-828A-4436-9722-8E585221469D}"/>
                </a:ext>
              </a:extLst>
            </p:cNvPr>
            <p:cNvSpPr/>
            <p:nvPr userDrawn="1"/>
          </p:nvSpPr>
          <p:spPr bwMode="auto">
            <a:xfrm>
              <a:off x="6383503" y="3929605"/>
              <a:ext cx="465744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9" name="íṥļïďê">
              <a:extLst>
                <a:ext uri="{FF2B5EF4-FFF2-40B4-BE49-F238E27FC236}">
                  <a16:creationId xmlns:a16="http://schemas.microsoft.com/office/drawing/2014/main" id="{87784FA9-5DAB-4CEA-92C6-1DFE9C3657A7}"/>
                </a:ext>
              </a:extLst>
            </p:cNvPr>
            <p:cNvSpPr/>
            <p:nvPr userDrawn="1"/>
          </p:nvSpPr>
          <p:spPr bwMode="auto">
            <a:xfrm>
              <a:off x="9329371" y="2991536"/>
              <a:ext cx="952882" cy="121290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80" name="iṡlîḑe">
              <a:extLst>
                <a:ext uri="{FF2B5EF4-FFF2-40B4-BE49-F238E27FC236}">
                  <a16:creationId xmlns:a16="http://schemas.microsoft.com/office/drawing/2014/main" id="{A1169987-8B8D-4BC8-92F5-645725EAC551}"/>
                </a:ext>
              </a:extLst>
            </p:cNvPr>
            <p:cNvSpPr/>
            <p:nvPr userDrawn="1"/>
          </p:nvSpPr>
          <p:spPr bwMode="auto">
            <a:xfrm>
              <a:off x="9666748" y="3391449"/>
              <a:ext cx="534865" cy="717541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83" name="îšļiḍé">
              <a:extLst>
                <a:ext uri="{FF2B5EF4-FFF2-40B4-BE49-F238E27FC236}">
                  <a16:creationId xmlns:a16="http://schemas.microsoft.com/office/drawing/2014/main" id="{E94F843E-1931-4CF4-A07C-516069F6EB04}"/>
                </a:ext>
              </a:extLst>
            </p:cNvPr>
            <p:cNvSpPr/>
            <p:nvPr userDrawn="1"/>
          </p:nvSpPr>
          <p:spPr bwMode="auto">
            <a:xfrm>
              <a:off x="8401176" y="4421680"/>
              <a:ext cx="783371" cy="1267217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84" name="í$ḷïḑe">
              <a:extLst>
                <a:ext uri="{FF2B5EF4-FFF2-40B4-BE49-F238E27FC236}">
                  <a16:creationId xmlns:a16="http://schemas.microsoft.com/office/drawing/2014/main" id="{C29BEDA5-B06B-4D27-B037-F5AED5D1574B}"/>
                </a:ext>
              </a:extLst>
            </p:cNvPr>
            <p:cNvSpPr/>
            <p:nvPr userDrawn="1"/>
          </p:nvSpPr>
          <p:spPr bwMode="auto">
            <a:xfrm>
              <a:off x="8661202" y="5688897"/>
              <a:ext cx="492076" cy="190905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85" name="ís1îḓe">
              <a:extLst>
                <a:ext uri="{FF2B5EF4-FFF2-40B4-BE49-F238E27FC236}">
                  <a16:creationId xmlns:a16="http://schemas.microsoft.com/office/drawing/2014/main" id="{3082BE92-7275-4477-8E76-3714C3FF5443}"/>
                </a:ext>
              </a:extLst>
            </p:cNvPr>
            <p:cNvSpPr/>
            <p:nvPr userDrawn="1"/>
          </p:nvSpPr>
          <p:spPr bwMode="auto">
            <a:xfrm>
              <a:off x="7644137" y="4421680"/>
              <a:ext cx="783371" cy="1267217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88" name="ïṥļîdê">
              <a:extLst>
                <a:ext uri="{FF2B5EF4-FFF2-40B4-BE49-F238E27FC236}">
                  <a16:creationId xmlns:a16="http://schemas.microsoft.com/office/drawing/2014/main" id="{6509C9E9-F0A5-41D8-A60B-B1D7CCE406EF}"/>
                </a:ext>
              </a:extLst>
            </p:cNvPr>
            <p:cNvSpPr/>
            <p:nvPr userDrawn="1"/>
          </p:nvSpPr>
          <p:spPr bwMode="auto">
            <a:xfrm>
              <a:off x="7935433" y="2711760"/>
              <a:ext cx="197488" cy="294587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89" name="isḻîḋè">
              <a:extLst>
                <a:ext uri="{FF2B5EF4-FFF2-40B4-BE49-F238E27FC236}">
                  <a16:creationId xmlns:a16="http://schemas.microsoft.com/office/drawing/2014/main" id="{BCAD022A-2BB4-472F-A840-23B522639385}"/>
                </a:ext>
              </a:extLst>
            </p:cNvPr>
            <p:cNvSpPr/>
            <p:nvPr userDrawn="1"/>
          </p:nvSpPr>
          <p:spPr bwMode="auto">
            <a:xfrm>
              <a:off x="7979867" y="2784173"/>
              <a:ext cx="153054" cy="184322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0" name="íṥľïḓê">
              <a:extLst>
                <a:ext uri="{FF2B5EF4-FFF2-40B4-BE49-F238E27FC236}">
                  <a16:creationId xmlns:a16="http://schemas.microsoft.com/office/drawing/2014/main" id="{84E11F03-65D2-472A-B806-EC31231E8560}"/>
                </a:ext>
              </a:extLst>
            </p:cNvPr>
            <p:cNvSpPr/>
            <p:nvPr userDrawn="1"/>
          </p:nvSpPr>
          <p:spPr bwMode="auto">
            <a:xfrm>
              <a:off x="8011137" y="2789109"/>
              <a:ext cx="121784" cy="8393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1" name="íş1íḋê">
              <a:extLst>
                <a:ext uri="{FF2B5EF4-FFF2-40B4-BE49-F238E27FC236}">
                  <a16:creationId xmlns:a16="http://schemas.microsoft.com/office/drawing/2014/main" id="{265B95A3-5F30-4FC2-A4A7-9F23121DA964}"/>
                </a:ext>
              </a:extLst>
            </p:cNvPr>
            <p:cNvSpPr/>
            <p:nvPr userDrawn="1"/>
          </p:nvSpPr>
          <p:spPr bwMode="auto">
            <a:xfrm>
              <a:off x="8748427" y="2780881"/>
              <a:ext cx="222175" cy="297879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2" name="íṧḷíďè">
              <a:extLst>
                <a:ext uri="{FF2B5EF4-FFF2-40B4-BE49-F238E27FC236}">
                  <a16:creationId xmlns:a16="http://schemas.microsoft.com/office/drawing/2014/main" id="{7EB307C2-66A6-448A-8EF2-887D4820030E}"/>
                </a:ext>
              </a:extLst>
            </p:cNvPr>
            <p:cNvSpPr/>
            <p:nvPr userDrawn="1"/>
          </p:nvSpPr>
          <p:spPr bwMode="auto">
            <a:xfrm>
              <a:off x="8748427" y="2853294"/>
              <a:ext cx="179386" cy="182677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3" name="ïşlíďe">
              <a:extLst>
                <a:ext uri="{FF2B5EF4-FFF2-40B4-BE49-F238E27FC236}">
                  <a16:creationId xmlns:a16="http://schemas.microsoft.com/office/drawing/2014/main" id="{BCC22F31-6EDC-40F5-AA90-B5435AD95566}"/>
                </a:ext>
              </a:extLst>
            </p:cNvPr>
            <p:cNvSpPr/>
            <p:nvPr userDrawn="1"/>
          </p:nvSpPr>
          <p:spPr bwMode="auto">
            <a:xfrm>
              <a:off x="8764884" y="2861522"/>
              <a:ext cx="128367" cy="64184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4" name="íṧ1iḍé">
              <a:extLst>
                <a:ext uri="{FF2B5EF4-FFF2-40B4-BE49-F238E27FC236}">
                  <a16:creationId xmlns:a16="http://schemas.microsoft.com/office/drawing/2014/main" id="{C9504CCB-28EF-4A00-A933-5292602CF21B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5" name="íSḷíḍé">
              <a:extLst>
                <a:ext uri="{FF2B5EF4-FFF2-40B4-BE49-F238E27FC236}">
                  <a16:creationId xmlns:a16="http://schemas.microsoft.com/office/drawing/2014/main" id="{7EACEEDA-0104-47E3-9361-C75ED4FB9243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6" name="ï$lïďê">
              <a:extLst>
                <a:ext uri="{FF2B5EF4-FFF2-40B4-BE49-F238E27FC236}">
                  <a16:creationId xmlns:a16="http://schemas.microsoft.com/office/drawing/2014/main" id="{DDEAF4E3-2289-4F78-8E69-1051F1D900DE}"/>
                </a:ext>
              </a:extLst>
            </p:cNvPr>
            <p:cNvSpPr/>
            <p:nvPr userDrawn="1"/>
          </p:nvSpPr>
          <p:spPr bwMode="auto">
            <a:xfrm>
              <a:off x="8340284" y="3154463"/>
              <a:ext cx="182677" cy="92161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7" name="iṩlïḍe">
              <a:extLst>
                <a:ext uri="{FF2B5EF4-FFF2-40B4-BE49-F238E27FC236}">
                  <a16:creationId xmlns:a16="http://schemas.microsoft.com/office/drawing/2014/main" id="{EEB15323-3E5E-4EA2-BC14-74AA6034E31A}"/>
                </a:ext>
              </a:extLst>
            </p:cNvPr>
            <p:cNvSpPr/>
            <p:nvPr userDrawn="1"/>
          </p:nvSpPr>
          <p:spPr bwMode="auto">
            <a:xfrm>
              <a:off x="8086841" y="2441860"/>
              <a:ext cx="750456" cy="812994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8" name="iš1íḓè">
              <a:extLst>
                <a:ext uri="{FF2B5EF4-FFF2-40B4-BE49-F238E27FC236}">
                  <a16:creationId xmlns:a16="http://schemas.microsoft.com/office/drawing/2014/main" id="{FB6BD81C-6E5D-47F0-BB34-3B766D0EAEB0}"/>
                </a:ext>
              </a:extLst>
            </p:cNvPr>
            <p:cNvSpPr/>
            <p:nvPr userDrawn="1"/>
          </p:nvSpPr>
          <p:spPr bwMode="auto">
            <a:xfrm>
              <a:off x="8086841" y="2624536"/>
              <a:ext cx="4938" cy="106973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9" name="işļíḍê">
              <a:extLst>
                <a:ext uri="{FF2B5EF4-FFF2-40B4-BE49-F238E27FC236}">
                  <a16:creationId xmlns:a16="http://schemas.microsoft.com/office/drawing/2014/main" id="{7B86B38C-D93C-4170-B264-035D2D476A7A}"/>
                </a:ext>
              </a:extLst>
            </p:cNvPr>
            <p:cNvSpPr/>
            <p:nvPr userDrawn="1"/>
          </p:nvSpPr>
          <p:spPr bwMode="auto">
            <a:xfrm>
              <a:off x="7869603" y="2269057"/>
              <a:ext cx="1051626" cy="1007191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0" name="ïṡļíḋe">
              <a:extLst>
                <a:ext uri="{FF2B5EF4-FFF2-40B4-BE49-F238E27FC236}">
                  <a16:creationId xmlns:a16="http://schemas.microsoft.com/office/drawing/2014/main" id="{425DDDE3-FD47-4C2F-92D4-1BB0EEB89B81}"/>
                </a:ext>
              </a:extLst>
            </p:cNvPr>
            <p:cNvSpPr/>
            <p:nvPr userDrawn="1"/>
          </p:nvSpPr>
          <p:spPr bwMode="auto">
            <a:xfrm>
              <a:off x="7979867" y="2152210"/>
              <a:ext cx="891989" cy="743873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1" name="işľiḍê">
              <a:extLst>
                <a:ext uri="{FF2B5EF4-FFF2-40B4-BE49-F238E27FC236}">
                  <a16:creationId xmlns:a16="http://schemas.microsoft.com/office/drawing/2014/main" id="{2C0A9916-D892-44F9-9477-D9AE1C868060}"/>
                </a:ext>
              </a:extLst>
            </p:cNvPr>
            <p:cNvSpPr/>
            <p:nvPr userDrawn="1"/>
          </p:nvSpPr>
          <p:spPr bwMode="auto">
            <a:xfrm>
              <a:off x="7705030" y="3376638"/>
              <a:ext cx="1441665" cy="812994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2" name="işḻíḍé">
              <a:extLst>
                <a:ext uri="{FF2B5EF4-FFF2-40B4-BE49-F238E27FC236}">
                  <a16:creationId xmlns:a16="http://schemas.microsoft.com/office/drawing/2014/main" id="{0B7F69A2-5EB7-4398-A300-F6473A913EE7}"/>
                </a:ext>
              </a:extLst>
            </p:cNvPr>
            <p:cNvSpPr/>
            <p:nvPr userDrawn="1"/>
          </p:nvSpPr>
          <p:spPr bwMode="auto">
            <a:xfrm>
              <a:off x="7912393" y="3460570"/>
              <a:ext cx="1038460" cy="1224428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3" name="ïṣľïḓè">
              <a:extLst>
                <a:ext uri="{FF2B5EF4-FFF2-40B4-BE49-F238E27FC236}">
                  <a16:creationId xmlns:a16="http://schemas.microsoft.com/office/drawing/2014/main" id="{B439BE05-E6B7-49C2-A9D7-8B961D72535F}"/>
                </a:ext>
              </a:extLst>
            </p:cNvPr>
            <p:cNvSpPr/>
            <p:nvPr userDrawn="1"/>
          </p:nvSpPr>
          <p:spPr bwMode="auto">
            <a:xfrm>
              <a:off x="7961765" y="3460570"/>
              <a:ext cx="939716" cy="1152016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4" name="îšlídè">
              <a:extLst>
                <a:ext uri="{FF2B5EF4-FFF2-40B4-BE49-F238E27FC236}">
                  <a16:creationId xmlns:a16="http://schemas.microsoft.com/office/drawing/2014/main" id="{2444FEFA-AD39-45C4-A6EB-228191BBD7AF}"/>
                </a:ext>
              </a:extLst>
            </p:cNvPr>
            <p:cNvSpPr/>
            <p:nvPr userDrawn="1"/>
          </p:nvSpPr>
          <p:spPr bwMode="auto">
            <a:xfrm>
              <a:off x="7945307" y="2708469"/>
              <a:ext cx="941361" cy="610569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5" name="ïṩḷídé">
              <a:extLst>
                <a:ext uri="{FF2B5EF4-FFF2-40B4-BE49-F238E27FC236}">
                  <a16:creationId xmlns:a16="http://schemas.microsoft.com/office/drawing/2014/main" id="{65B09B65-DD99-43BC-BC3A-DB9FF9F2ABFF}"/>
                </a:ext>
              </a:extLst>
            </p:cNvPr>
            <p:cNvSpPr/>
            <p:nvPr userDrawn="1"/>
          </p:nvSpPr>
          <p:spPr bwMode="auto">
            <a:xfrm>
              <a:off x="8007845" y="2731509"/>
              <a:ext cx="821223" cy="534865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6" name="íŝliḓè">
              <a:extLst>
                <a:ext uri="{FF2B5EF4-FFF2-40B4-BE49-F238E27FC236}">
                  <a16:creationId xmlns:a16="http://schemas.microsoft.com/office/drawing/2014/main" id="{48296FFD-DB04-4589-813C-2CB5475A3B01}"/>
                </a:ext>
              </a:extLst>
            </p:cNvPr>
            <p:cNvSpPr/>
            <p:nvPr userDrawn="1"/>
          </p:nvSpPr>
          <p:spPr bwMode="auto">
            <a:xfrm>
              <a:off x="7805419" y="4704747"/>
              <a:ext cx="1214553" cy="284713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7" name="ïSľíḋê">
              <a:extLst>
                <a:ext uri="{FF2B5EF4-FFF2-40B4-BE49-F238E27FC236}">
                  <a16:creationId xmlns:a16="http://schemas.microsoft.com/office/drawing/2014/main" id="{6E575278-117E-48C6-9A90-0A02E061B476}"/>
                </a:ext>
              </a:extLst>
            </p:cNvPr>
            <p:cNvSpPr/>
            <p:nvPr userDrawn="1"/>
          </p:nvSpPr>
          <p:spPr bwMode="auto">
            <a:xfrm>
              <a:off x="7945307" y="4704747"/>
              <a:ext cx="929842" cy="72412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8" name="íšļiḑê">
              <a:extLst>
                <a:ext uri="{FF2B5EF4-FFF2-40B4-BE49-F238E27FC236}">
                  <a16:creationId xmlns:a16="http://schemas.microsoft.com/office/drawing/2014/main" id="{A5B4C972-F81E-4A36-97F5-5CB45073B33B}"/>
                </a:ext>
              </a:extLst>
            </p:cNvPr>
            <p:cNvSpPr/>
            <p:nvPr userDrawn="1"/>
          </p:nvSpPr>
          <p:spPr bwMode="auto">
            <a:xfrm>
              <a:off x="8351804" y="4989460"/>
              <a:ext cx="113556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9" name="îşļiḓè">
              <a:extLst>
                <a:ext uri="{FF2B5EF4-FFF2-40B4-BE49-F238E27FC236}">
                  <a16:creationId xmlns:a16="http://schemas.microsoft.com/office/drawing/2014/main" id="{0685CCE9-4C3B-458D-B689-D4CDADB1FE43}"/>
                </a:ext>
              </a:extLst>
            </p:cNvPr>
            <p:cNvSpPr/>
            <p:nvPr userDrawn="1"/>
          </p:nvSpPr>
          <p:spPr bwMode="auto">
            <a:xfrm>
              <a:off x="7815294" y="4875903"/>
              <a:ext cx="1193159" cy="113556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0" name="ïṥḻïḋê">
              <a:extLst>
                <a:ext uri="{FF2B5EF4-FFF2-40B4-BE49-F238E27FC236}">
                  <a16:creationId xmlns:a16="http://schemas.microsoft.com/office/drawing/2014/main" id="{18BB8CCB-7A37-4305-BC22-E897B2D7218F}"/>
                </a:ext>
              </a:extLst>
            </p:cNvPr>
            <p:cNvSpPr/>
            <p:nvPr userDrawn="1"/>
          </p:nvSpPr>
          <p:spPr bwMode="auto">
            <a:xfrm>
              <a:off x="8320535" y="4150134"/>
              <a:ext cx="179386" cy="1550284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1" name="işḻíḓé">
              <a:extLst>
                <a:ext uri="{FF2B5EF4-FFF2-40B4-BE49-F238E27FC236}">
                  <a16:creationId xmlns:a16="http://schemas.microsoft.com/office/drawing/2014/main" id="{2932BA5A-E590-446D-B0B5-F85B86EC9928}"/>
                </a:ext>
              </a:extLst>
            </p:cNvPr>
            <p:cNvSpPr/>
            <p:nvPr userDrawn="1"/>
          </p:nvSpPr>
          <p:spPr bwMode="auto">
            <a:xfrm>
              <a:off x="8346867" y="2856585"/>
              <a:ext cx="126722" cy="1316589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2" name="íṧḷidé">
              <a:extLst>
                <a:ext uri="{FF2B5EF4-FFF2-40B4-BE49-F238E27FC236}">
                  <a16:creationId xmlns:a16="http://schemas.microsoft.com/office/drawing/2014/main" id="{2D5B728A-3BBA-40F1-9634-ACC386604EE9}"/>
                </a:ext>
              </a:extLst>
            </p:cNvPr>
            <p:cNvSpPr/>
            <p:nvPr userDrawn="1"/>
          </p:nvSpPr>
          <p:spPr bwMode="auto">
            <a:xfrm>
              <a:off x="7675406" y="5688897"/>
              <a:ext cx="488784" cy="190905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3" name="i$ḷîde">
              <a:extLst>
                <a:ext uri="{FF2B5EF4-FFF2-40B4-BE49-F238E27FC236}">
                  <a16:creationId xmlns:a16="http://schemas.microsoft.com/office/drawing/2014/main" id="{812BEC7E-920B-41D1-A017-5F0EA119128E}"/>
                </a:ext>
              </a:extLst>
            </p:cNvPr>
            <p:cNvSpPr/>
            <p:nvPr userDrawn="1"/>
          </p:nvSpPr>
          <p:spPr bwMode="auto">
            <a:xfrm>
              <a:off x="7556913" y="4173174"/>
              <a:ext cx="855783" cy="855783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4" name="ïşḻïḓe">
              <a:extLst>
                <a:ext uri="{FF2B5EF4-FFF2-40B4-BE49-F238E27FC236}">
                  <a16:creationId xmlns:a16="http://schemas.microsoft.com/office/drawing/2014/main" id="{9B8FC791-6553-4B3F-823B-DA0CCE0AD320}"/>
                </a:ext>
              </a:extLst>
            </p:cNvPr>
            <p:cNvSpPr/>
            <p:nvPr userDrawn="1"/>
          </p:nvSpPr>
          <p:spPr bwMode="auto">
            <a:xfrm>
              <a:off x="8439028" y="4173174"/>
              <a:ext cx="852491" cy="855783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5" name="iṩḻïdè">
              <a:extLst>
                <a:ext uri="{FF2B5EF4-FFF2-40B4-BE49-F238E27FC236}">
                  <a16:creationId xmlns:a16="http://schemas.microsoft.com/office/drawing/2014/main" id="{C7B961F2-0FA1-496B-BF75-1B80184F7546}"/>
                </a:ext>
              </a:extLst>
            </p:cNvPr>
            <p:cNvSpPr/>
            <p:nvPr userDrawn="1"/>
          </p:nvSpPr>
          <p:spPr bwMode="auto">
            <a:xfrm>
              <a:off x="8309014" y="5700418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6" name="íṧḻíḋe">
              <a:extLst>
                <a:ext uri="{FF2B5EF4-FFF2-40B4-BE49-F238E27FC236}">
                  <a16:creationId xmlns:a16="http://schemas.microsoft.com/office/drawing/2014/main" id="{68EA8E57-BFE3-41B8-90C7-BAE4C2494936}"/>
                </a:ext>
              </a:extLst>
            </p:cNvPr>
            <p:cNvSpPr/>
            <p:nvPr userDrawn="1"/>
          </p:nvSpPr>
          <p:spPr bwMode="auto">
            <a:xfrm>
              <a:off x="8309014" y="4085950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7" name="ïş1ïḓê">
              <a:extLst>
                <a:ext uri="{FF2B5EF4-FFF2-40B4-BE49-F238E27FC236}">
                  <a16:creationId xmlns:a16="http://schemas.microsoft.com/office/drawing/2014/main" id="{D0752CDE-0251-4715-B0F5-4392FFAA894B}"/>
                </a:ext>
              </a:extLst>
            </p:cNvPr>
            <p:cNvSpPr/>
            <p:nvPr userDrawn="1"/>
          </p:nvSpPr>
          <p:spPr bwMode="auto">
            <a:xfrm>
              <a:off x="7961765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8" name="iṥḷïdé">
              <a:extLst>
                <a:ext uri="{FF2B5EF4-FFF2-40B4-BE49-F238E27FC236}">
                  <a16:creationId xmlns:a16="http://schemas.microsoft.com/office/drawing/2014/main" id="{F6EBCF3F-E47C-43D1-9DD6-AE7F8F37E631}"/>
                </a:ext>
              </a:extLst>
            </p:cNvPr>
            <p:cNvSpPr/>
            <p:nvPr userDrawn="1"/>
          </p:nvSpPr>
          <p:spPr bwMode="auto">
            <a:xfrm>
              <a:off x="8652974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9" name="îṩľîde">
              <a:extLst>
                <a:ext uri="{FF2B5EF4-FFF2-40B4-BE49-F238E27FC236}">
                  <a16:creationId xmlns:a16="http://schemas.microsoft.com/office/drawing/2014/main" id="{6A63D590-6C4D-47BF-9141-493E199B4666}"/>
                </a:ext>
              </a:extLst>
            </p:cNvPr>
            <p:cNvSpPr/>
            <p:nvPr userDrawn="1"/>
          </p:nvSpPr>
          <p:spPr bwMode="auto">
            <a:xfrm>
              <a:off x="8095069" y="5688897"/>
              <a:ext cx="635254" cy="72412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7234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D7BB0-1597-4F0C-B686-1F625CAFE9F4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711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625531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12800" y="273050"/>
            <a:ext cx="10769600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8910D-D0A2-440D-BC68-C380B6CD720A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2"/>
          </p:nvPr>
        </p:nvSpPr>
        <p:spPr>
          <a:xfrm>
            <a:off x="812800" y="1752600"/>
            <a:ext cx="21336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>
                <a:latin typeface="Arial" panose="020B0604020202020204" pitchFamily="34" charset="0"/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zh-TW" altLang="en-US" dirty="0"/>
              <a:t>按一下以編輯母片文字樣式</a:t>
            </a:r>
          </a:p>
        </p:txBody>
      </p:sp>
      <p:sp>
        <p:nvSpPr>
          <p:cNvPr id="9" name="內容版面配置區 8"/>
          <p:cNvSpPr>
            <a:spLocks noGrp="1"/>
          </p:cNvSpPr>
          <p:nvPr>
            <p:ph sz="quarter" idx="1"/>
          </p:nvPr>
        </p:nvSpPr>
        <p:spPr>
          <a:xfrm>
            <a:off x="3149600" y="1752600"/>
            <a:ext cx="8534400" cy="4419600"/>
          </a:xfrm>
        </p:spPr>
        <p:txBody>
          <a:bodyPr/>
          <a:lstStyle/>
          <a:p>
            <a:pPr lvl="0" eaLnBrk="1" latinLnBrk="0" hangingPunct="1"/>
            <a:r>
              <a:rPr lang="zh-TW" altLang="en-US"/>
              <a:t>按一下以編輯母片文字樣式</a:t>
            </a:r>
          </a:p>
          <a:p>
            <a:pPr lvl="1" eaLnBrk="1" latinLnBrk="0" hangingPunct="1"/>
            <a:r>
              <a:rPr lang="zh-TW" altLang="en-US"/>
              <a:t>第二層</a:t>
            </a:r>
          </a:p>
          <a:p>
            <a:pPr lvl="2" eaLnBrk="1" latinLnBrk="0" hangingPunct="1"/>
            <a:r>
              <a:rPr lang="zh-TW" altLang="en-US"/>
              <a:t>第三層</a:t>
            </a:r>
          </a:p>
          <a:p>
            <a:pPr lvl="3" eaLnBrk="1" latinLnBrk="0" hangingPunct="1"/>
            <a:r>
              <a:rPr lang="zh-TW" altLang="en-US"/>
              <a:t>第四層</a:t>
            </a:r>
          </a:p>
          <a:p>
            <a:pPr lvl="4" eaLnBrk="1" latinLnBrk="0" hangingPunct="1"/>
            <a:r>
              <a:rPr lang="zh-TW" altLang="en-US"/>
              <a:t>第五層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301844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含標題的圖片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2133600" y="5486400"/>
            <a:ext cx="97536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zh-TW" altLang="en-US"/>
              <a:t>按一下以編輯母片文字樣式</a:t>
            </a:r>
          </a:p>
        </p:txBody>
      </p:sp>
      <p:sp>
        <p:nvSpPr>
          <p:cNvPr id="8" name="矩形 7"/>
          <p:cNvSpPr/>
          <p:nvPr/>
        </p:nvSpPr>
        <p:spPr bwMode="white">
          <a:xfrm>
            <a:off x="-12192" y="4572000"/>
            <a:ext cx="12192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-12192" y="4663440"/>
            <a:ext cx="1950720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060448" y="4654296"/>
            <a:ext cx="10131552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133600" y="4648200"/>
            <a:ext cx="97536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11" name="矩形 10"/>
          <p:cNvSpPr/>
          <p:nvPr/>
        </p:nvSpPr>
        <p:spPr bwMode="white">
          <a:xfrm>
            <a:off x="1930400" y="0"/>
            <a:ext cx="134112" cy="686714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2" name="日期版面配置區 11"/>
          <p:cNvSpPr>
            <a:spLocks noGrp="1"/>
          </p:cNvSpPr>
          <p:nvPr>
            <p:ph type="dt" sz="half" idx="10"/>
          </p:nvPr>
        </p:nvSpPr>
        <p:spPr>
          <a:xfrm>
            <a:off x="8331200" y="6248401"/>
            <a:ext cx="3556000" cy="365125"/>
          </a:xfrm>
        </p:spPr>
        <p:txBody>
          <a:bodyPr rtlCol="0"/>
          <a:lstStyle/>
          <a:p>
            <a:fld id="{A0CC60CC-E679-466B-996C-6EE6FF2CBC6B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13" name="投影片編號版面配置區 12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930400" cy="663578"/>
          </a:xfrm>
        </p:spPr>
        <p:txBody>
          <a:bodyPr rtlCol="0"/>
          <a:lstStyle>
            <a:lvl1pPr>
              <a:defRPr sz="2800"/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2"/>
          </p:nvPr>
        </p:nvSpPr>
        <p:spPr>
          <a:xfrm>
            <a:off x="2133600" y="6248207"/>
            <a:ext cx="6096000" cy="365125"/>
          </a:xfrm>
        </p:spPr>
        <p:txBody>
          <a:bodyPr rtlCol="0"/>
          <a:lstStyle/>
          <a:p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2080768" y="0"/>
            <a:ext cx="10111232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zh-TW" altLang="en-US"/>
              <a:t>按一下圖示以新增圖片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821208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zh-TW" altLang="en-US"/>
              <a:t>按一下以編輯母片文字樣式</a:t>
            </a:r>
          </a:p>
          <a:p>
            <a:pPr lvl="1" eaLnBrk="1" latinLnBrk="0" hangingPunct="1"/>
            <a:r>
              <a:rPr lang="zh-TW" altLang="en-US"/>
              <a:t>第二層</a:t>
            </a:r>
          </a:p>
          <a:p>
            <a:pPr lvl="2" eaLnBrk="1" latinLnBrk="0" hangingPunct="1"/>
            <a:r>
              <a:rPr lang="zh-TW" altLang="en-US"/>
              <a:t>第三層</a:t>
            </a:r>
          </a:p>
          <a:p>
            <a:pPr lvl="3" eaLnBrk="1" latinLnBrk="0" hangingPunct="1"/>
            <a:r>
              <a:rPr lang="zh-TW" altLang="en-US"/>
              <a:t>第四層</a:t>
            </a:r>
          </a:p>
          <a:p>
            <a:pPr lvl="4" eaLnBrk="1" latinLnBrk="0" hangingPunct="1"/>
            <a:r>
              <a:rPr lang="zh-TW" altLang="en-US"/>
              <a:t>第五層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637C-EACD-4536-AEC8-470B273D54EC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4508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直排標題及文字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8737600" y="609601"/>
            <a:ext cx="2743200" cy="5516563"/>
          </a:xfrm>
        </p:spPr>
        <p:txBody>
          <a:bodyPr vert="eaVert"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609600" y="609600"/>
            <a:ext cx="7416800" cy="5516564"/>
          </a:xfrm>
        </p:spPr>
        <p:txBody>
          <a:bodyPr vert="eaVert"/>
          <a:lstStyle/>
          <a:p>
            <a:pPr lvl="0" eaLnBrk="1" latinLnBrk="0" hangingPunct="1"/>
            <a:r>
              <a:rPr lang="zh-TW" altLang="en-US"/>
              <a:t>按一下以編輯母片文字樣式</a:t>
            </a:r>
          </a:p>
          <a:p>
            <a:pPr lvl="1" eaLnBrk="1" latinLnBrk="0" hangingPunct="1"/>
            <a:r>
              <a:rPr lang="zh-TW" altLang="en-US"/>
              <a:t>第二層</a:t>
            </a:r>
          </a:p>
          <a:p>
            <a:pPr lvl="2" eaLnBrk="1" latinLnBrk="0" hangingPunct="1"/>
            <a:r>
              <a:rPr lang="zh-TW" altLang="en-US"/>
              <a:t>第三層</a:t>
            </a:r>
          </a:p>
          <a:p>
            <a:pPr lvl="3" eaLnBrk="1" latinLnBrk="0" hangingPunct="1"/>
            <a:r>
              <a:rPr lang="zh-TW" altLang="en-US"/>
              <a:t>第四層</a:t>
            </a:r>
          </a:p>
          <a:p>
            <a:pPr lvl="4" eaLnBrk="1" latinLnBrk="0" hangingPunct="1"/>
            <a:r>
              <a:rPr lang="zh-TW" altLang="en-US"/>
              <a:t>第五層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8737600" y="6248403"/>
            <a:ext cx="2946400" cy="365125"/>
          </a:xfrm>
        </p:spPr>
        <p:txBody>
          <a:bodyPr/>
          <a:lstStyle/>
          <a:p>
            <a:fld id="{DD431DFD-C98C-4C03-9A08-F2C4BC5C3AD2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609602" y="6248208"/>
            <a:ext cx="7431311" cy="365125"/>
          </a:xfrm>
        </p:spPr>
        <p:txBody>
          <a:bodyPr/>
          <a:lstStyle/>
          <a:p>
            <a:endParaRPr lang="zh-TW" altLang="en-US"/>
          </a:p>
        </p:txBody>
      </p:sp>
      <p:sp>
        <p:nvSpPr>
          <p:cNvPr id="7" name="矩形 6"/>
          <p:cNvSpPr/>
          <p:nvPr/>
        </p:nvSpPr>
        <p:spPr bwMode="white">
          <a:xfrm>
            <a:off x="8128424" y="0"/>
            <a:ext cx="42672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8189384" y="609600"/>
            <a:ext cx="3048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189384" y="0"/>
            <a:ext cx="3048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 rot="5400000">
            <a:off x="8075084" y="103716"/>
            <a:ext cx="533400" cy="325968"/>
          </a:xfrm>
        </p:spPr>
        <p:txBody>
          <a:bodyPr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32676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任意多边形: 形状 3">
            <a:extLst>
              <a:ext uri="{FF2B5EF4-FFF2-40B4-BE49-F238E27FC236}">
                <a16:creationId xmlns:a16="http://schemas.microsoft.com/office/drawing/2014/main" id="{06520DCF-DA61-4D14-AE07-15B7F11C9D32}"/>
              </a:ext>
            </a:extLst>
          </p:cNvPr>
          <p:cNvSpPr/>
          <p:nvPr userDrawn="1"/>
        </p:nvSpPr>
        <p:spPr>
          <a:xfrm>
            <a:off x="-3175" y="-3175"/>
            <a:ext cx="12198350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2" name="任意多边形: 形状 4">
            <a:extLst>
              <a:ext uri="{FF2B5EF4-FFF2-40B4-BE49-F238E27FC236}">
                <a16:creationId xmlns:a16="http://schemas.microsoft.com/office/drawing/2014/main" id="{C5E579F9-9089-46E8-880D-9A5453E7D2E7}"/>
              </a:ext>
            </a:extLst>
          </p:cNvPr>
          <p:cNvSpPr/>
          <p:nvPr userDrawn="1"/>
        </p:nvSpPr>
        <p:spPr>
          <a:xfrm>
            <a:off x="5273293" y="-3175"/>
            <a:ext cx="6921500" cy="6864350"/>
          </a:xfrm>
          <a:custGeom>
            <a:avLst/>
            <a:gdLst>
              <a:gd name="connsiteX0" fmla="*/ 5248657 w 6921500"/>
              <a:gd name="connsiteY0" fmla="*/ 1030605 h 6864350"/>
              <a:gd name="connsiteX1" fmla="*/ 72137 w 6921500"/>
              <a:gd name="connsiteY1" fmla="*/ 6324600 h 6864350"/>
              <a:gd name="connsiteX2" fmla="*/ 3557 w 6921500"/>
              <a:gd name="connsiteY2" fmla="*/ 6861175 h 6864350"/>
              <a:gd name="connsiteX3" fmla="*/ 6918707 w 6921500"/>
              <a:gd name="connsiteY3" fmla="*/ 6861175 h 6864350"/>
              <a:gd name="connsiteX4" fmla="*/ 6918707 w 6921500"/>
              <a:gd name="connsiteY4" fmla="*/ 3175 h 6864350"/>
              <a:gd name="connsiteX5" fmla="*/ 5663313 w 6921500"/>
              <a:gd name="connsiteY5" fmla="*/ 3175 h 6864350"/>
              <a:gd name="connsiteX6" fmla="*/ 5248657 w 6921500"/>
              <a:gd name="connsiteY6" fmla="*/ 103060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1500" h="6864350">
                <a:moveTo>
                  <a:pt x="5248657" y="1030605"/>
                </a:moveTo>
                <a:cubicBezTo>
                  <a:pt x="4744467" y="1462405"/>
                  <a:pt x="72137" y="6324600"/>
                  <a:pt x="72137" y="6324600"/>
                </a:cubicBezTo>
                <a:cubicBezTo>
                  <a:pt x="72137" y="6324600"/>
                  <a:pt x="-2793" y="6593206"/>
                  <a:pt x="3557" y="6861175"/>
                </a:cubicBezTo>
                <a:lnTo>
                  <a:pt x="6918707" y="6861175"/>
                </a:lnTo>
                <a:lnTo>
                  <a:pt x="6918707" y="3175"/>
                </a:lnTo>
                <a:lnTo>
                  <a:pt x="5663313" y="3175"/>
                </a:lnTo>
                <a:cubicBezTo>
                  <a:pt x="5655692" y="276225"/>
                  <a:pt x="5587747" y="740410"/>
                  <a:pt x="5248657" y="1030605"/>
                </a:cubicBezTo>
                <a:close/>
              </a:path>
            </a:pathLst>
          </a:custGeom>
          <a:solidFill>
            <a:srgbClr val="8FBFF9">
              <a:lumMod val="60000"/>
              <a:lumOff val="4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3" name="任意多边形: 形状 5">
            <a:extLst>
              <a:ext uri="{FF2B5EF4-FFF2-40B4-BE49-F238E27FC236}">
                <a16:creationId xmlns:a16="http://schemas.microsoft.com/office/drawing/2014/main" id="{B022E879-35B8-4679-A9A8-63D3D4401CE2}"/>
              </a:ext>
            </a:extLst>
          </p:cNvPr>
          <p:cNvSpPr/>
          <p:nvPr userDrawn="1"/>
        </p:nvSpPr>
        <p:spPr>
          <a:xfrm>
            <a:off x="-3175" y="-3175"/>
            <a:ext cx="4114800" cy="3454400"/>
          </a:xfrm>
          <a:custGeom>
            <a:avLst/>
            <a:gdLst>
              <a:gd name="connsiteX0" fmla="*/ 3175 w 4114800"/>
              <a:gd name="connsiteY0" fmla="*/ 3449320 h 3454400"/>
              <a:gd name="connsiteX1" fmla="*/ 661670 w 4114800"/>
              <a:gd name="connsiteY1" fmla="*/ 2989580 h 3454400"/>
              <a:gd name="connsiteX2" fmla="*/ 2552065 w 4114800"/>
              <a:gd name="connsiteY2" fmla="*/ 1466850 h 3454400"/>
              <a:gd name="connsiteX3" fmla="*/ 4074795 w 4114800"/>
              <a:gd name="connsiteY3" fmla="*/ 626745 h 3454400"/>
              <a:gd name="connsiteX4" fmla="*/ 3412490 w 4114800"/>
              <a:gd name="connsiteY4" fmla="*/ 3175 h 3454400"/>
              <a:gd name="connsiteX5" fmla="*/ 3175 w 4114800"/>
              <a:gd name="connsiteY5" fmla="*/ 3175 h 3454400"/>
              <a:gd name="connsiteX6" fmla="*/ 3175 w 4114800"/>
              <a:gd name="connsiteY6" fmla="*/ 3449320 h 3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4800" h="3454400">
                <a:moveTo>
                  <a:pt x="3175" y="3449320"/>
                </a:moveTo>
                <a:cubicBezTo>
                  <a:pt x="214630" y="3479165"/>
                  <a:pt x="483235" y="3389630"/>
                  <a:pt x="661670" y="2989580"/>
                </a:cubicBezTo>
                <a:cubicBezTo>
                  <a:pt x="1082040" y="2044065"/>
                  <a:pt x="1869440" y="1203960"/>
                  <a:pt x="2552065" y="1466850"/>
                </a:cubicBezTo>
                <a:cubicBezTo>
                  <a:pt x="3234690" y="1729740"/>
                  <a:pt x="4337685" y="1414145"/>
                  <a:pt x="4074795" y="626745"/>
                </a:cubicBezTo>
                <a:cubicBezTo>
                  <a:pt x="3990340" y="370205"/>
                  <a:pt x="3728085" y="164465"/>
                  <a:pt x="3412490" y="3175"/>
                </a:cubicBezTo>
                <a:lnTo>
                  <a:pt x="3175" y="3175"/>
                </a:lnTo>
                <a:lnTo>
                  <a:pt x="3175" y="3449320"/>
                </a:lnTo>
                <a:close/>
              </a:path>
            </a:pathLst>
          </a:custGeom>
          <a:solidFill>
            <a:srgbClr val="C1DC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4" name="任意多边形: 形状 6">
            <a:extLst>
              <a:ext uri="{FF2B5EF4-FFF2-40B4-BE49-F238E27FC236}">
                <a16:creationId xmlns:a16="http://schemas.microsoft.com/office/drawing/2014/main" id="{FD3C3680-6920-403D-BF86-14398F569C70}"/>
              </a:ext>
            </a:extLst>
          </p:cNvPr>
          <p:cNvSpPr/>
          <p:nvPr userDrawn="1"/>
        </p:nvSpPr>
        <p:spPr>
          <a:xfrm>
            <a:off x="-3175" y="-3175"/>
            <a:ext cx="3454400" cy="2876550"/>
          </a:xfrm>
          <a:custGeom>
            <a:avLst/>
            <a:gdLst>
              <a:gd name="connsiteX0" fmla="*/ 3175 w 3454400"/>
              <a:gd name="connsiteY0" fmla="*/ 2875280 h 2876550"/>
              <a:gd name="connsiteX1" fmla="*/ 511175 w 3454400"/>
              <a:gd name="connsiteY1" fmla="*/ 2478405 h 2876550"/>
              <a:gd name="connsiteX2" fmla="*/ 2123440 w 3454400"/>
              <a:gd name="connsiteY2" fmla="*/ 1179830 h 2876550"/>
              <a:gd name="connsiteX3" fmla="*/ 3422015 w 3454400"/>
              <a:gd name="connsiteY3" fmla="*/ 463550 h 2876550"/>
              <a:gd name="connsiteX4" fmla="*/ 2985135 w 3454400"/>
              <a:gd name="connsiteY4" fmla="*/ 3175 h 2876550"/>
              <a:gd name="connsiteX5" fmla="*/ 3175 w 3454400"/>
              <a:gd name="connsiteY5" fmla="*/ 3175 h 2876550"/>
              <a:gd name="connsiteX6" fmla="*/ 3175 w 3454400"/>
              <a:gd name="connsiteY6" fmla="*/ 2875280 h 287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4400" h="2876550">
                <a:moveTo>
                  <a:pt x="3175" y="2875280"/>
                </a:moveTo>
                <a:cubicBezTo>
                  <a:pt x="167005" y="2876550"/>
                  <a:pt x="375285" y="2783205"/>
                  <a:pt x="511175" y="2478405"/>
                </a:cubicBezTo>
                <a:cubicBezTo>
                  <a:pt x="869315" y="1672590"/>
                  <a:pt x="1541145" y="955675"/>
                  <a:pt x="2123440" y="1179830"/>
                </a:cubicBezTo>
                <a:cubicBezTo>
                  <a:pt x="2705735" y="1403985"/>
                  <a:pt x="3646170" y="1134745"/>
                  <a:pt x="3422015" y="463550"/>
                </a:cubicBezTo>
                <a:cubicBezTo>
                  <a:pt x="3361055" y="281305"/>
                  <a:pt x="3194685" y="128905"/>
                  <a:pt x="2985135" y="3175"/>
                </a:cubicBezTo>
                <a:lnTo>
                  <a:pt x="3175" y="3175"/>
                </a:lnTo>
                <a:lnTo>
                  <a:pt x="3175" y="2875280"/>
                </a:lnTo>
                <a:close/>
              </a:path>
            </a:pathLst>
          </a:custGeom>
          <a:solidFill>
            <a:srgbClr val="A8BF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5" name="任意多边形: 形状 7">
            <a:extLst>
              <a:ext uri="{FF2B5EF4-FFF2-40B4-BE49-F238E27FC236}">
                <a16:creationId xmlns:a16="http://schemas.microsoft.com/office/drawing/2014/main" id="{09B0EA7E-BB83-4657-94D9-2C3B9030ACD3}"/>
              </a:ext>
            </a:extLst>
          </p:cNvPr>
          <p:cNvSpPr/>
          <p:nvPr userDrawn="1"/>
        </p:nvSpPr>
        <p:spPr>
          <a:xfrm>
            <a:off x="717550" y="533400"/>
            <a:ext cx="10756900" cy="5791200"/>
          </a:xfrm>
          <a:prstGeom prst="roundRect">
            <a:avLst>
              <a:gd name="adj" fmla="val 3885"/>
            </a:avLst>
          </a:prstGeom>
          <a:solidFill>
            <a:srgbClr val="FFFFFF"/>
          </a:solidFill>
          <a:ln w="6350" cap="flat">
            <a:noFill/>
            <a:prstDash val="solid"/>
            <a:miter/>
          </a:ln>
          <a:effectLst>
            <a:outerShdw blurRad="228600" dist="38100" dir="2700000" algn="tl" rotWithShape="0">
              <a:schemeClr val="accent1">
                <a:lumMod val="60000"/>
                <a:lumOff val="40000"/>
                <a:alpha val="26000"/>
              </a:scheme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任意多边形: 形状 9852">
            <a:extLst>
              <a:ext uri="{FF2B5EF4-FFF2-40B4-BE49-F238E27FC236}">
                <a16:creationId xmlns:a16="http://schemas.microsoft.com/office/drawing/2014/main" id="{5768ACB9-8152-46E7-9094-AF576368C7BC}"/>
              </a:ext>
            </a:extLst>
          </p:cNvPr>
          <p:cNvSpPr/>
          <p:nvPr userDrawn="1"/>
        </p:nvSpPr>
        <p:spPr>
          <a:xfrm>
            <a:off x="717550" y="533400"/>
            <a:ext cx="3390900" cy="2317750"/>
          </a:xfrm>
          <a:custGeom>
            <a:avLst/>
            <a:gdLst>
              <a:gd name="connsiteX0" fmla="*/ 3175 w 3390900"/>
              <a:gd name="connsiteY0" fmla="*/ 2318385 h 2317750"/>
              <a:gd name="connsiteX1" fmla="*/ 1831340 w 3390900"/>
              <a:gd name="connsiteY1" fmla="*/ 929640 h 2317750"/>
              <a:gd name="connsiteX2" fmla="*/ 3354070 w 3390900"/>
              <a:gd name="connsiteY2" fmla="*/ 89535 h 2317750"/>
              <a:gd name="connsiteX3" fmla="*/ 3317875 w 3390900"/>
              <a:gd name="connsiteY3" fmla="*/ 3175 h 2317750"/>
              <a:gd name="connsiteX4" fmla="*/ 3175 w 3390900"/>
              <a:gd name="connsiteY4" fmla="*/ 3175 h 2317750"/>
              <a:gd name="connsiteX5" fmla="*/ 3175 w 3390900"/>
              <a:gd name="connsiteY5" fmla="*/ 2318385 h 23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90900" h="2317750">
                <a:moveTo>
                  <a:pt x="3175" y="2318385"/>
                </a:moveTo>
                <a:cubicBezTo>
                  <a:pt x="435610" y="1430020"/>
                  <a:pt x="1181100" y="679450"/>
                  <a:pt x="1831340" y="929640"/>
                </a:cubicBezTo>
                <a:cubicBezTo>
                  <a:pt x="2513965" y="1192530"/>
                  <a:pt x="3616960" y="876935"/>
                  <a:pt x="3354070" y="89535"/>
                </a:cubicBezTo>
                <a:cubicBezTo>
                  <a:pt x="3344545" y="60325"/>
                  <a:pt x="3331845" y="31115"/>
                  <a:pt x="3317875" y="3175"/>
                </a:cubicBezTo>
                <a:lnTo>
                  <a:pt x="3175" y="3175"/>
                </a:lnTo>
                <a:lnTo>
                  <a:pt x="3175" y="2318385"/>
                </a:lnTo>
                <a:close/>
              </a:path>
            </a:pathLst>
          </a:custGeom>
          <a:solidFill>
            <a:srgbClr val="C1DC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任意多边形: 形状 9853">
            <a:extLst>
              <a:ext uri="{FF2B5EF4-FFF2-40B4-BE49-F238E27FC236}">
                <a16:creationId xmlns:a16="http://schemas.microsoft.com/office/drawing/2014/main" id="{1D6433B4-443D-497B-B60E-9CFC49A0DFCD}"/>
              </a:ext>
            </a:extLst>
          </p:cNvPr>
          <p:cNvSpPr/>
          <p:nvPr userDrawn="1"/>
        </p:nvSpPr>
        <p:spPr>
          <a:xfrm>
            <a:off x="717550" y="533400"/>
            <a:ext cx="2736850" cy="1536700"/>
          </a:xfrm>
          <a:custGeom>
            <a:avLst/>
            <a:gdLst>
              <a:gd name="connsiteX0" fmla="*/ 3175 w 2736850"/>
              <a:gd name="connsiteY0" fmla="*/ 1534160 h 1536700"/>
              <a:gd name="connsiteX1" fmla="*/ 1402080 w 2736850"/>
              <a:gd name="connsiteY1" fmla="*/ 643255 h 1536700"/>
              <a:gd name="connsiteX2" fmla="*/ 2721610 w 2736850"/>
              <a:gd name="connsiteY2" fmla="*/ 3175 h 1536700"/>
              <a:gd name="connsiteX3" fmla="*/ 3175 w 2736850"/>
              <a:gd name="connsiteY3" fmla="*/ 3175 h 1536700"/>
              <a:gd name="connsiteX4" fmla="*/ 3175 w 2736850"/>
              <a:gd name="connsiteY4" fmla="*/ 1534160 h 153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36850" h="1536700">
                <a:moveTo>
                  <a:pt x="3175" y="1534160"/>
                </a:moveTo>
                <a:cubicBezTo>
                  <a:pt x="379095" y="915035"/>
                  <a:pt x="921385" y="458470"/>
                  <a:pt x="1402080" y="643255"/>
                </a:cubicBezTo>
                <a:cubicBezTo>
                  <a:pt x="1961515" y="858520"/>
                  <a:pt x="2852420" y="618490"/>
                  <a:pt x="2721610" y="3175"/>
                </a:cubicBezTo>
                <a:lnTo>
                  <a:pt x="3175" y="3175"/>
                </a:lnTo>
                <a:lnTo>
                  <a:pt x="3175" y="1534160"/>
                </a:lnTo>
                <a:close/>
              </a:path>
            </a:pathLst>
          </a:custGeom>
          <a:solidFill>
            <a:srgbClr val="ABC2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383699" y="1835871"/>
            <a:ext cx="5470981" cy="128908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0E457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83698" y="3152811"/>
            <a:ext cx="5844995" cy="42570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0E457D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3698" y="4484238"/>
            <a:ext cx="2315101" cy="258922"/>
          </a:xfrm>
          <a:prstGeom prst="roundRect">
            <a:avLst>
              <a:gd name="adj" fmla="val 43154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83699" y="4854433"/>
            <a:ext cx="5844996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E457D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02F86C1-24CD-49C9-B4DA-98D45882771F}"/>
              </a:ext>
            </a:extLst>
          </p:cNvPr>
          <p:cNvGrpSpPr/>
          <p:nvPr userDrawn="1"/>
        </p:nvGrpSpPr>
        <p:grpSpPr>
          <a:xfrm>
            <a:off x="5889782" y="893221"/>
            <a:ext cx="5228505" cy="5016206"/>
            <a:chOff x="5889782" y="893221"/>
            <a:chExt cx="5228505" cy="5016206"/>
          </a:xfrm>
        </p:grpSpPr>
        <p:sp>
          <p:nvSpPr>
            <p:cNvPr id="1128" name="îṣḷïde">
              <a:extLst>
                <a:ext uri="{FF2B5EF4-FFF2-40B4-BE49-F238E27FC236}">
                  <a16:creationId xmlns:a16="http://schemas.microsoft.com/office/drawing/2014/main" id="{0BAACA35-B8F5-49E4-BDF2-28AD92F51B89}"/>
                </a:ext>
              </a:extLst>
            </p:cNvPr>
            <p:cNvSpPr/>
            <p:nvPr userDrawn="1"/>
          </p:nvSpPr>
          <p:spPr bwMode="auto">
            <a:xfrm>
              <a:off x="6241970" y="2667325"/>
              <a:ext cx="648420" cy="1525598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9" name="ïšḻíḍê">
              <a:extLst>
                <a:ext uri="{FF2B5EF4-FFF2-40B4-BE49-F238E27FC236}">
                  <a16:creationId xmlns:a16="http://schemas.microsoft.com/office/drawing/2014/main" id="{51781B7F-5616-415D-B826-A2DBE6904BE6}"/>
                </a:ext>
              </a:extLst>
            </p:cNvPr>
            <p:cNvSpPr/>
            <p:nvPr userDrawn="1"/>
          </p:nvSpPr>
          <p:spPr bwMode="auto">
            <a:xfrm>
              <a:off x="6783417" y="2667325"/>
              <a:ext cx="106973" cy="255090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0" name="íšḷiḑe">
              <a:extLst>
                <a:ext uri="{FF2B5EF4-FFF2-40B4-BE49-F238E27FC236}">
                  <a16:creationId xmlns:a16="http://schemas.microsoft.com/office/drawing/2014/main" id="{36D4FDD1-D4E5-4DCD-B2B0-AA38156B2677}"/>
                </a:ext>
              </a:extLst>
            </p:cNvPr>
            <p:cNvSpPr/>
            <p:nvPr userDrawn="1"/>
          </p:nvSpPr>
          <p:spPr bwMode="auto">
            <a:xfrm>
              <a:off x="8944269" y="1284906"/>
              <a:ext cx="1456477" cy="1454831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1" name="îṩ1iḑé">
              <a:extLst>
                <a:ext uri="{FF2B5EF4-FFF2-40B4-BE49-F238E27FC236}">
                  <a16:creationId xmlns:a16="http://schemas.microsoft.com/office/drawing/2014/main" id="{EB56D6B5-B21E-4122-A4AE-60BD6B59BB85}"/>
                </a:ext>
              </a:extLst>
            </p:cNvPr>
            <p:cNvSpPr/>
            <p:nvPr userDrawn="1"/>
          </p:nvSpPr>
          <p:spPr bwMode="auto">
            <a:xfrm>
              <a:off x="10476450" y="1681529"/>
              <a:ext cx="641837" cy="641837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2" name="ïṧ1îďê">
              <a:extLst>
                <a:ext uri="{FF2B5EF4-FFF2-40B4-BE49-F238E27FC236}">
                  <a16:creationId xmlns:a16="http://schemas.microsoft.com/office/drawing/2014/main" id="{980274B5-FEE3-4ADA-B6E6-89346A994BEF}"/>
                </a:ext>
              </a:extLst>
            </p:cNvPr>
            <p:cNvSpPr/>
            <p:nvPr userDrawn="1"/>
          </p:nvSpPr>
          <p:spPr bwMode="auto">
            <a:xfrm>
              <a:off x="8132921" y="893221"/>
              <a:ext cx="947944" cy="944653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3" name="íşlïďê">
              <a:extLst>
                <a:ext uri="{FF2B5EF4-FFF2-40B4-BE49-F238E27FC236}">
                  <a16:creationId xmlns:a16="http://schemas.microsoft.com/office/drawing/2014/main" id="{85DB3A15-AB74-4EC4-89E1-54F8EC958C30}"/>
                </a:ext>
              </a:extLst>
            </p:cNvPr>
            <p:cNvSpPr/>
            <p:nvPr userDrawn="1"/>
          </p:nvSpPr>
          <p:spPr bwMode="auto">
            <a:xfrm>
              <a:off x="5889782" y="4192923"/>
              <a:ext cx="5045828" cy="130014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4" name="íśḷïdè">
              <a:extLst>
                <a:ext uri="{FF2B5EF4-FFF2-40B4-BE49-F238E27FC236}">
                  <a16:creationId xmlns:a16="http://schemas.microsoft.com/office/drawing/2014/main" id="{DF070FDD-3B3F-42A2-9C90-11DE14A3DA5C}"/>
                </a:ext>
              </a:extLst>
            </p:cNvPr>
            <p:cNvSpPr/>
            <p:nvPr userDrawn="1"/>
          </p:nvSpPr>
          <p:spPr bwMode="auto">
            <a:xfrm>
              <a:off x="5893073" y="4285085"/>
              <a:ext cx="5037600" cy="3785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5" name="îṥlïḋê">
              <a:extLst>
                <a:ext uri="{FF2B5EF4-FFF2-40B4-BE49-F238E27FC236}">
                  <a16:creationId xmlns:a16="http://schemas.microsoft.com/office/drawing/2014/main" id="{5AA64555-A021-4CA7-A924-45D5A726CC58}"/>
                </a:ext>
              </a:extLst>
            </p:cNvPr>
            <p:cNvSpPr/>
            <p:nvPr userDrawn="1"/>
          </p:nvSpPr>
          <p:spPr bwMode="auto">
            <a:xfrm>
              <a:off x="7403859" y="4123802"/>
              <a:ext cx="1823476" cy="69121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6" name="îṣľíḑê">
              <a:extLst>
                <a:ext uri="{FF2B5EF4-FFF2-40B4-BE49-F238E27FC236}">
                  <a16:creationId xmlns:a16="http://schemas.microsoft.com/office/drawing/2014/main" id="{6FB22006-4AD4-4B3C-8AE3-96A4C69E8CA9}"/>
                </a:ext>
              </a:extLst>
            </p:cNvPr>
            <p:cNvSpPr/>
            <p:nvPr userDrawn="1"/>
          </p:nvSpPr>
          <p:spPr bwMode="auto">
            <a:xfrm>
              <a:off x="7589828" y="4123802"/>
              <a:ext cx="1823476" cy="69121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7" name="iṩ1idè">
              <a:extLst>
                <a:ext uri="{FF2B5EF4-FFF2-40B4-BE49-F238E27FC236}">
                  <a16:creationId xmlns:a16="http://schemas.microsoft.com/office/drawing/2014/main" id="{14D09A72-7FDC-4DF1-9BB5-DD2BDB039053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826768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9" name="ïŝḻïḓè">
              <a:extLst>
                <a:ext uri="{FF2B5EF4-FFF2-40B4-BE49-F238E27FC236}">
                  <a16:creationId xmlns:a16="http://schemas.microsoft.com/office/drawing/2014/main" id="{C3DB54A8-9D12-4E09-8326-69DA8BA64F54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90905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0" name="íṧľîḑe">
              <a:extLst>
                <a:ext uri="{FF2B5EF4-FFF2-40B4-BE49-F238E27FC236}">
                  <a16:creationId xmlns:a16="http://schemas.microsoft.com/office/drawing/2014/main" id="{D06E1C7D-10B1-46DD-8837-D0D9ED23AF29}"/>
                </a:ext>
              </a:extLst>
            </p:cNvPr>
            <p:cNvSpPr/>
            <p:nvPr userDrawn="1"/>
          </p:nvSpPr>
          <p:spPr bwMode="auto">
            <a:xfrm>
              <a:off x="8649682" y="2815441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1" name="ísļídè">
              <a:extLst>
                <a:ext uri="{FF2B5EF4-FFF2-40B4-BE49-F238E27FC236}">
                  <a16:creationId xmlns:a16="http://schemas.microsoft.com/office/drawing/2014/main" id="{540BD6BA-B67B-4C03-9BC3-ED00C075C9EF}"/>
                </a:ext>
              </a:extLst>
            </p:cNvPr>
            <p:cNvSpPr/>
            <p:nvPr userDrawn="1"/>
          </p:nvSpPr>
          <p:spPr bwMode="auto">
            <a:xfrm>
              <a:off x="8649682" y="2948746"/>
              <a:ext cx="503595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2" name="îSlíḑè">
              <a:extLst>
                <a:ext uri="{FF2B5EF4-FFF2-40B4-BE49-F238E27FC236}">
                  <a16:creationId xmlns:a16="http://schemas.microsoft.com/office/drawing/2014/main" id="{48D2C1FF-CA7F-4364-ACA8-E86E9C4A2FB9}"/>
                </a:ext>
              </a:extLst>
            </p:cNvPr>
            <p:cNvSpPr/>
            <p:nvPr userDrawn="1"/>
          </p:nvSpPr>
          <p:spPr bwMode="auto">
            <a:xfrm>
              <a:off x="9204295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3" name="ïslíďê">
              <a:extLst>
                <a:ext uri="{FF2B5EF4-FFF2-40B4-BE49-F238E27FC236}">
                  <a16:creationId xmlns:a16="http://schemas.microsoft.com/office/drawing/2014/main" id="{ABB148EF-2A54-4095-9A91-5040573014B5}"/>
                </a:ext>
              </a:extLst>
            </p:cNvPr>
            <p:cNvSpPr/>
            <p:nvPr userDrawn="1"/>
          </p:nvSpPr>
          <p:spPr bwMode="auto">
            <a:xfrm>
              <a:off x="8649682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4" name="íṥļïďé">
              <a:extLst>
                <a:ext uri="{FF2B5EF4-FFF2-40B4-BE49-F238E27FC236}">
                  <a16:creationId xmlns:a16="http://schemas.microsoft.com/office/drawing/2014/main" id="{873428B1-5B23-4769-A0A3-FD01B2E619AC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5" name="ïṧḻiďê">
              <a:extLst>
                <a:ext uri="{FF2B5EF4-FFF2-40B4-BE49-F238E27FC236}">
                  <a16:creationId xmlns:a16="http://schemas.microsoft.com/office/drawing/2014/main" id="{EB0837A3-A486-4C63-99EC-8F080016F569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6" name="îṩḻiḓê">
              <a:extLst>
                <a:ext uri="{FF2B5EF4-FFF2-40B4-BE49-F238E27FC236}">
                  <a16:creationId xmlns:a16="http://schemas.microsoft.com/office/drawing/2014/main" id="{406BF31B-9AB2-44E3-9C34-ECFB97EF68DF}"/>
                </a:ext>
              </a:extLst>
            </p:cNvPr>
            <p:cNvSpPr/>
            <p:nvPr userDrawn="1"/>
          </p:nvSpPr>
          <p:spPr bwMode="auto">
            <a:xfrm>
              <a:off x="9146695" y="2815441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7" name="îŝ1îḍê">
              <a:extLst>
                <a:ext uri="{FF2B5EF4-FFF2-40B4-BE49-F238E27FC236}">
                  <a16:creationId xmlns:a16="http://schemas.microsoft.com/office/drawing/2014/main" id="{2A055191-2855-4659-8E24-A69CF63CC376}"/>
                </a:ext>
              </a:extLst>
            </p:cNvPr>
            <p:cNvSpPr/>
            <p:nvPr userDrawn="1"/>
          </p:nvSpPr>
          <p:spPr bwMode="auto">
            <a:xfrm>
              <a:off x="8649682" y="2185125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8" name="iṩ1îďé">
              <a:extLst>
                <a:ext uri="{FF2B5EF4-FFF2-40B4-BE49-F238E27FC236}">
                  <a16:creationId xmlns:a16="http://schemas.microsoft.com/office/drawing/2014/main" id="{48CEF17B-25F9-497F-A827-D0119AD60755}"/>
                </a:ext>
              </a:extLst>
            </p:cNvPr>
            <p:cNvSpPr/>
            <p:nvPr userDrawn="1"/>
          </p:nvSpPr>
          <p:spPr bwMode="auto">
            <a:xfrm>
              <a:off x="8649682" y="2320075"/>
              <a:ext cx="503595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9" name="iSḻíḍe">
              <a:extLst>
                <a:ext uri="{FF2B5EF4-FFF2-40B4-BE49-F238E27FC236}">
                  <a16:creationId xmlns:a16="http://schemas.microsoft.com/office/drawing/2014/main" id="{F225C5E7-7304-4C79-BFAE-2F8B07F08B2D}"/>
                </a:ext>
              </a:extLst>
            </p:cNvPr>
            <p:cNvSpPr/>
            <p:nvPr userDrawn="1"/>
          </p:nvSpPr>
          <p:spPr bwMode="auto">
            <a:xfrm>
              <a:off x="9204295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0" name="íṥ1iḍè">
              <a:extLst>
                <a:ext uri="{FF2B5EF4-FFF2-40B4-BE49-F238E27FC236}">
                  <a16:creationId xmlns:a16="http://schemas.microsoft.com/office/drawing/2014/main" id="{200E071C-D07C-40C7-8E35-2466C97BE710}"/>
                </a:ext>
              </a:extLst>
            </p:cNvPr>
            <p:cNvSpPr/>
            <p:nvPr userDrawn="1"/>
          </p:nvSpPr>
          <p:spPr bwMode="auto">
            <a:xfrm>
              <a:off x="8649682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1" name="íṡ1íḓe">
              <a:extLst>
                <a:ext uri="{FF2B5EF4-FFF2-40B4-BE49-F238E27FC236}">
                  <a16:creationId xmlns:a16="http://schemas.microsoft.com/office/drawing/2014/main" id="{BE25401D-960A-4B1C-B168-DBFF07FF2D3A}"/>
                </a:ext>
              </a:extLst>
            </p:cNvPr>
            <p:cNvSpPr/>
            <p:nvPr userDrawn="1"/>
          </p:nvSpPr>
          <p:spPr bwMode="auto">
            <a:xfrm>
              <a:off x="8916292" y="2453379"/>
              <a:ext cx="742228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2" name="íŝľíḑe">
              <a:extLst>
                <a:ext uri="{FF2B5EF4-FFF2-40B4-BE49-F238E27FC236}">
                  <a16:creationId xmlns:a16="http://schemas.microsoft.com/office/drawing/2014/main" id="{C5B4C4D9-139F-4D4F-94BF-58A605B41A48}"/>
                </a:ext>
              </a:extLst>
            </p:cNvPr>
            <p:cNvSpPr/>
            <p:nvPr userDrawn="1"/>
          </p:nvSpPr>
          <p:spPr bwMode="auto">
            <a:xfrm>
              <a:off x="9146695" y="2185125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3" name="ïṥ1îḓè">
              <a:extLst>
                <a:ext uri="{FF2B5EF4-FFF2-40B4-BE49-F238E27FC236}">
                  <a16:creationId xmlns:a16="http://schemas.microsoft.com/office/drawing/2014/main" id="{45897B7C-5CF3-4D23-B816-3B2A57853241}"/>
                </a:ext>
              </a:extLst>
            </p:cNvPr>
            <p:cNvSpPr/>
            <p:nvPr userDrawn="1"/>
          </p:nvSpPr>
          <p:spPr bwMode="auto">
            <a:xfrm>
              <a:off x="7280430" y="2815441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4" name="íṡḷidê">
              <a:extLst>
                <a:ext uri="{FF2B5EF4-FFF2-40B4-BE49-F238E27FC236}">
                  <a16:creationId xmlns:a16="http://schemas.microsoft.com/office/drawing/2014/main" id="{A916F33C-EA89-49B2-A647-F1E9D5793283}"/>
                </a:ext>
              </a:extLst>
            </p:cNvPr>
            <p:cNvSpPr/>
            <p:nvPr userDrawn="1"/>
          </p:nvSpPr>
          <p:spPr bwMode="auto">
            <a:xfrm>
              <a:off x="7280430" y="2948746"/>
              <a:ext cx="501950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5" name="ïSḻïḑe">
              <a:extLst>
                <a:ext uri="{FF2B5EF4-FFF2-40B4-BE49-F238E27FC236}">
                  <a16:creationId xmlns:a16="http://schemas.microsoft.com/office/drawing/2014/main" id="{40732D72-1904-41BF-967A-052BF1D55673}"/>
                </a:ext>
              </a:extLst>
            </p:cNvPr>
            <p:cNvSpPr/>
            <p:nvPr userDrawn="1"/>
          </p:nvSpPr>
          <p:spPr bwMode="auto">
            <a:xfrm>
              <a:off x="7835042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6" name="ïŝlîḋe">
              <a:extLst>
                <a:ext uri="{FF2B5EF4-FFF2-40B4-BE49-F238E27FC236}">
                  <a16:creationId xmlns:a16="http://schemas.microsoft.com/office/drawing/2014/main" id="{03A6DF9F-0C46-4097-893F-268FE8AC6CE9}"/>
                </a:ext>
              </a:extLst>
            </p:cNvPr>
            <p:cNvSpPr/>
            <p:nvPr userDrawn="1"/>
          </p:nvSpPr>
          <p:spPr bwMode="auto">
            <a:xfrm>
              <a:off x="7280430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7" name="ïṣḷidè">
              <a:extLst>
                <a:ext uri="{FF2B5EF4-FFF2-40B4-BE49-F238E27FC236}">
                  <a16:creationId xmlns:a16="http://schemas.microsoft.com/office/drawing/2014/main" id="{8E5AE3FF-52EE-43D9-8424-2990E578D4D6}"/>
                </a:ext>
              </a:extLst>
            </p:cNvPr>
            <p:cNvSpPr/>
            <p:nvPr userDrawn="1"/>
          </p:nvSpPr>
          <p:spPr bwMode="auto">
            <a:xfrm>
              <a:off x="7548684" y="3082051"/>
              <a:ext cx="737290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8" name="íṧľîḓê">
              <a:extLst>
                <a:ext uri="{FF2B5EF4-FFF2-40B4-BE49-F238E27FC236}">
                  <a16:creationId xmlns:a16="http://schemas.microsoft.com/office/drawing/2014/main" id="{B7C6134D-3669-40C7-90EF-C583EF46ACA0}"/>
                </a:ext>
              </a:extLst>
            </p:cNvPr>
            <p:cNvSpPr/>
            <p:nvPr userDrawn="1"/>
          </p:nvSpPr>
          <p:spPr bwMode="auto">
            <a:xfrm>
              <a:off x="7777442" y="2815441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9" name="ïšḷîḓe">
              <a:extLst>
                <a:ext uri="{FF2B5EF4-FFF2-40B4-BE49-F238E27FC236}">
                  <a16:creationId xmlns:a16="http://schemas.microsoft.com/office/drawing/2014/main" id="{EB0E05C4-9AAA-4268-AE57-D0A5C45F17E5}"/>
                </a:ext>
              </a:extLst>
            </p:cNvPr>
            <p:cNvSpPr/>
            <p:nvPr userDrawn="1"/>
          </p:nvSpPr>
          <p:spPr bwMode="auto">
            <a:xfrm>
              <a:off x="7280430" y="2185125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0" name="îśliḍé">
              <a:extLst>
                <a:ext uri="{FF2B5EF4-FFF2-40B4-BE49-F238E27FC236}">
                  <a16:creationId xmlns:a16="http://schemas.microsoft.com/office/drawing/2014/main" id="{452F5EF2-338C-4F52-A8F8-A30DD2745932}"/>
                </a:ext>
              </a:extLst>
            </p:cNvPr>
            <p:cNvSpPr/>
            <p:nvPr userDrawn="1"/>
          </p:nvSpPr>
          <p:spPr bwMode="auto">
            <a:xfrm>
              <a:off x="7280430" y="2320075"/>
              <a:ext cx="501950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1" name="iṥ1iḍê">
              <a:extLst>
                <a:ext uri="{FF2B5EF4-FFF2-40B4-BE49-F238E27FC236}">
                  <a16:creationId xmlns:a16="http://schemas.microsoft.com/office/drawing/2014/main" id="{8EE38444-E3C8-4A2C-8CE9-D938B1A49990}"/>
                </a:ext>
              </a:extLst>
            </p:cNvPr>
            <p:cNvSpPr/>
            <p:nvPr userDrawn="1"/>
          </p:nvSpPr>
          <p:spPr bwMode="auto">
            <a:xfrm>
              <a:off x="7835042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2" name="ïSlïḑe">
              <a:extLst>
                <a:ext uri="{FF2B5EF4-FFF2-40B4-BE49-F238E27FC236}">
                  <a16:creationId xmlns:a16="http://schemas.microsoft.com/office/drawing/2014/main" id="{B672D154-68A6-4442-AF47-A18575FB19D8}"/>
                </a:ext>
              </a:extLst>
            </p:cNvPr>
            <p:cNvSpPr/>
            <p:nvPr userDrawn="1"/>
          </p:nvSpPr>
          <p:spPr bwMode="auto">
            <a:xfrm>
              <a:off x="7280430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3" name="ïśľîďe">
              <a:extLst>
                <a:ext uri="{FF2B5EF4-FFF2-40B4-BE49-F238E27FC236}">
                  <a16:creationId xmlns:a16="http://schemas.microsoft.com/office/drawing/2014/main" id="{ADAF3EE8-D7DE-489F-B071-21F62183CA87}"/>
                </a:ext>
              </a:extLst>
            </p:cNvPr>
            <p:cNvSpPr/>
            <p:nvPr userDrawn="1"/>
          </p:nvSpPr>
          <p:spPr bwMode="auto">
            <a:xfrm>
              <a:off x="7548684" y="2453379"/>
              <a:ext cx="737290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4" name="îṡľiďé">
              <a:extLst>
                <a:ext uri="{FF2B5EF4-FFF2-40B4-BE49-F238E27FC236}">
                  <a16:creationId xmlns:a16="http://schemas.microsoft.com/office/drawing/2014/main" id="{A52F0A3B-06FE-469A-8377-CC27084C8BED}"/>
                </a:ext>
              </a:extLst>
            </p:cNvPr>
            <p:cNvSpPr/>
            <p:nvPr userDrawn="1"/>
          </p:nvSpPr>
          <p:spPr bwMode="auto">
            <a:xfrm>
              <a:off x="7777442" y="2185125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5" name="ís1iḋê">
              <a:extLst>
                <a:ext uri="{FF2B5EF4-FFF2-40B4-BE49-F238E27FC236}">
                  <a16:creationId xmlns:a16="http://schemas.microsoft.com/office/drawing/2014/main" id="{D57A5B1F-346A-4492-9CC0-4255B170E7E6}"/>
                </a:ext>
              </a:extLst>
            </p:cNvPr>
            <p:cNvSpPr/>
            <p:nvPr userDrawn="1"/>
          </p:nvSpPr>
          <p:spPr bwMode="auto">
            <a:xfrm>
              <a:off x="6890390" y="1816480"/>
              <a:ext cx="3054487" cy="1948552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7" name="iSľíḑé">
              <a:extLst>
                <a:ext uri="{FF2B5EF4-FFF2-40B4-BE49-F238E27FC236}">
                  <a16:creationId xmlns:a16="http://schemas.microsoft.com/office/drawing/2014/main" id="{38B1ACC9-D7E8-4AF2-B7EE-99DF6094FC5A}"/>
                </a:ext>
              </a:extLst>
            </p:cNvPr>
            <p:cNvSpPr/>
            <p:nvPr userDrawn="1"/>
          </p:nvSpPr>
          <p:spPr bwMode="auto">
            <a:xfrm>
              <a:off x="9424824" y="3142943"/>
              <a:ext cx="106973" cy="8229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8" name="îslîďè">
              <a:extLst>
                <a:ext uri="{FF2B5EF4-FFF2-40B4-BE49-F238E27FC236}">
                  <a16:creationId xmlns:a16="http://schemas.microsoft.com/office/drawing/2014/main" id="{DC52AEDF-331F-417B-91C2-5647FB3772C0}"/>
                </a:ext>
              </a:extLst>
            </p:cNvPr>
            <p:cNvSpPr/>
            <p:nvPr userDrawn="1"/>
          </p:nvSpPr>
          <p:spPr bwMode="auto">
            <a:xfrm>
              <a:off x="9268479" y="3371700"/>
              <a:ext cx="653358" cy="386749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9" name="îSľiḑe">
              <a:extLst>
                <a:ext uri="{FF2B5EF4-FFF2-40B4-BE49-F238E27FC236}">
                  <a16:creationId xmlns:a16="http://schemas.microsoft.com/office/drawing/2014/main" id="{3F70D03F-0E09-490C-95E8-11A4013CB827}"/>
                </a:ext>
              </a:extLst>
            </p:cNvPr>
            <p:cNvSpPr/>
            <p:nvPr userDrawn="1"/>
          </p:nvSpPr>
          <p:spPr bwMode="auto">
            <a:xfrm>
              <a:off x="7017112" y="1906995"/>
              <a:ext cx="2805981" cy="115202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0" name="íSļíḓè">
              <a:extLst>
                <a:ext uri="{FF2B5EF4-FFF2-40B4-BE49-F238E27FC236}">
                  <a16:creationId xmlns:a16="http://schemas.microsoft.com/office/drawing/2014/main" id="{47E22736-BFE4-440D-975A-C20257A3F918}"/>
                </a:ext>
              </a:extLst>
            </p:cNvPr>
            <p:cNvSpPr/>
            <p:nvPr userDrawn="1"/>
          </p:nvSpPr>
          <p:spPr bwMode="auto">
            <a:xfrm>
              <a:off x="6890390" y="3532982"/>
              <a:ext cx="3054487" cy="232049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1" name="ïṧḻídé">
              <a:extLst>
                <a:ext uri="{FF2B5EF4-FFF2-40B4-BE49-F238E27FC236}">
                  <a16:creationId xmlns:a16="http://schemas.microsoft.com/office/drawing/2014/main" id="{1E2D50C2-413C-4015-B222-2A29038F76B0}"/>
                </a:ext>
              </a:extLst>
            </p:cNvPr>
            <p:cNvSpPr/>
            <p:nvPr userDrawn="1"/>
          </p:nvSpPr>
          <p:spPr bwMode="auto">
            <a:xfrm>
              <a:off x="9627250" y="1976116"/>
              <a:ext cx="62538" cy="60893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2" name="iṧlïḋê">
              <a:extLst>
                <a:ext uri="{FF2B5EF4-FFF2-40B4-BE49-F238E27FC236}">
                  <a16:creationId xmlns:a16="http://schemas.microsoft.com/office/drawing/2014/main" id="{4C7A2F1F-B975-468D-93B1-704F7B7AEDA6}"/>
                </a:ext>
              </a:extLst>
            </p:cNvPr>
            <p:cNvSpPr/>
            <p:nvPr userDrawn="1"/>
          </p:nvSpPr>
          <p:spPr bwMode="auto">
            <a:xfrm>
              <a:off x="9520276" y="1976116"/>
              <a:ext cx="62538" cy="6089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3" name="ïSḷîḍê">
              <a:extLst>
                <a:ext uri="{FF2B5EF4-FFF2-40B4-BE49-F238E27FC236}">
                  <a16:creationId xmlns:a16="http://schemas.microsoft.com/office/drawing/2014/main" id="{7C0A5E28-BECA-42F0-ABAA-726549D61AFD}"/>
                </a:ext>
              </a:extLst>
            </p:cNvPr>
            <p:cNvSpPr/>
            <p:nvPr userDrawn="1"/>
          </p:nvSpPr>
          <p:spPr bwMode="auto">
            <a:xfrm>
              <a:off x="9413304" y="1976116"/>
              <a:ext cx="62538" cy="60893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4" name="íşlîḍe">
              <a:extLst>
                <a:ext uri="{FF2B5EF4-FFF2-40B4-BE49-F238E27FC236}">
                  <a16:creationId xmlns:a16="http://schemas.microsoft.com/office/drawing/2014/main" id="{1A89977D-8D6E-419C-B458-1008D447951A}"/>
                </a:ext>
              </a:extLst>
            </p:cNvPr>
            <p:cNvSpPr/>
            <p:nvPr userDrawn="1"/>
          </p:nvSpPr>
          <p:spPr bwMode="auto">
            <a:xfrm>
              <a:off x="6696193" y="2598204"/>
              <a:ext cx="768559" cy="1594719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5" name="îṧliḓe">
              <a:extLst>
                <a:ext uri="{FF2B5EF4-FFF2-40B4-BE49-F238E27FC236}">
                  <a16:creationId xmlns:a16="http://schemas.microsoft.com/office/drawing/2014/main" id="{854CA286-7FF2-442C-8399-AC07CD799772}"/>
                </a:ext>
              </a:extLst>
            </p:cNvPr>
            <p:cNvSpPr/>
            <p:nvPr userDrawn="1"/>
          </p:nvSpPr>
          <p:spPr bwMode="auto">
            <a:xfrm>
              <a:off x="6806458" y="2876334"/>
              <a:ext cx="473972" cy="98744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6" name="ïšľïḍê">
              <a:extLst>
                <a:ext uri="{FF2B5EF4-FFF2-40B4-BE49-F238E27FC236}">
                  <a16:creationId xmlns:a16="http://schemas.microsoft.com/office/drawing/2014/main" id="{FA9B1DE8-7D4C-47AB-BD10-9F427F3643EB}"/>
                </a:ext>
              </a:extLst>
            </p:cNvPr>
            <p:cNvSpPr/>
            <p:nvPr userDrawn="1"/>
          </p:nvSpPr>
          <p:spPr bwMode="auto">
            <a:xfrm>
              <a:off x="6676444" y="3226875"/>
              <a:ext cx="470681" cy="10039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7" name="ïṡ1îḍe">
              <a:extLst>
                <a:ext uri="{FF2B5EF4-FFF2-40B4-BE49-F238E27FC236}">
                  <a16:creationId xmlns:a16="http://schemas.microsoft.com/office/drawing/2014/main" id="{2093210A-1156-45DB-BB4C-0DCE7AD0D875}"/>
                </a:ext>
              </a:extLst>
            </p:cNvPr>
            <p:cNvSpPr/>
            <p:nvPr userDrawn="1"/>
          </p:nvSpPr>
          <p:spPr bwMode="auto">
            <a:xfrm>
              <a:off x="6523391" y="3579063"/>
              <a:ext cx="482201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8" name="iṧḷídè">
              <a:extLst>
                <a:ext uri="{FF2B5EF4-FFF2-40B4-BE49-F238E27FC236}">
                  <a16:creationId xmlns:a16="http://schemas.microsoft.com/office/drawing/2014/main" id="{85B7D714-828A-4436-9722-8E585221469D}"/>
                </a:ext>
              </a:extLst>
            </p:cNvPr>
            <p:cNvSpPr/>
            <p:nvPr userDrawn="1"/>
          </p:nvSpPr>
          <p:spPr bwMode="auto">
            <a:xfrm>
              <a:off x="6383503" y="3929605"/>
              <a:ext cx="465744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9" name="íṥļïďê">
              <a:extLst>
                <a:ext uri="{FF2B5EF4-FFF2-40B4-BE49-F238E27FC236}">
                  <a16:creationId xmlns:a16="http://schemas.microsoft.com/office/drawing/2014/main" id="{87784FA9-5DAB-4CEA-92C6-1DFE9C3657A7}"/>
                </a:ext>
              </a:extLst>
            </p:cNvPr>
            <p:cNvSpPr/>
            <p:nvPr userDrawn="1"/>
          </p:nvSpPr>
          <p:spPr bwMode="auto">
            <a:xfrm>
              <a:off x="9329371" y="2991536"/>
              <a:ext cx="952882" cy="121290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0" name="iṡlîḑe">
              <a:extLst>
                <a:ext uri="{FF2B5EF4-FFF2-40B4-BE49-F238E27FC236}">
                  <a16:creationId xmlns:a16="http://schemas.microsoft.com/office/drawing/2014/main" id="{A1169987-8B8D-4BC8-92F5-645725EAC551}"/>
                </a:ext>
              </a:extLst>
            </p:cNvPr>
            <p:cNvSpPr/>
            <p:nvPr userDrawn="1"/>
          </p:nvSpPr>
          <p:spPr bwMode="auto">
            <a:xfrm>
              <a:off x="9666748" y="3391449"/>
              <a:ext cx="534865" cy="717541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3" name="îšļiḍé">
              <a:extLst>
                <a:ext uri="{FF2B5EF4-FFF2-40B4-BE49-F238E27FC236}">
                  <a16:creationId xmlns:a16="http://schemas.microsoft.com/office/drawing/2014/main" id="{E94F843E-1931-4CF4-A07C-516069F6EB04}"/>
                </a:ext>
              </a:extLst>
            </p:cNvPr>
            <p:cNvSpPr/>
            <p:nvPr userDrawn="1"/>
          </p:nvSpPr>
          <p:spPr bwMode="auto">
            <a:xfrm>
              <a:off x="8401176" y="4421680"/>
              <a:ext cx="783371" cy="1267217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4" name="í$ḷïḑe">
              <a:extLst>
                <a:ext uri="{FF2B5EF4-FFF2-40B4-BE49-F238E27FC236}">
                  <a16:creationId xmlns:a16="http://schemas.microsoft.com/office/drawing/2014/main" id="{C29BEDA5-B06B-4D27-B037-F5AED5D1574B}"/>
                </a:ext>
              </a:extLst>
            </p:cNvPr>
            <p:cNvSpPr/>
            <p:nvPr userDrawn="1"/>
          </p:nvSpPr>
          <p:spPr bwMode="auto">
            <a:xfrm>
              <a:off x="8661202" y="5688897"/>
              <a:ext cx="492076" cy="190905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5" name="ís1îḓe">
              <a:extLst>
                <a:ext uri="{FF2B5EF4-FFF2-40B4-BE49-F238E27FC236}">
                  <a16:creationId xmlns:a16="http://schemas.microsoft.com/office/drawing/2014/main" id="{3082BE92-7275-4477-8E76-3714C3FF5443}"/>
                </a:ext>
              </a:extLst>
            </p:cNvPr>
            <p:cNvSpPr/>
            <p:nvPr userDrawn="1"/>
          </p:nvSpPr>
          <p:spPr bwMode="auto">
            <a:xfrm>
              <a:off x="7644137" y="4421680"/>
              <a:ext cx="783371" cy="1267217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8" name="ïṥļîdê">
              <a:extLst>
                <a:ext uri="{FF2B5EF4-FFF2-40B4-BE49-F238E27FC236}">
                  <a16:creationId xmlns:a16="http://schemas.microsoft.com/office/drawing/2014/main" id="{6509C9E9-F0A5-41D8-A60B-B1D7CCE406EF}"/>
                </a:ext>
              </a:extLst>
            </p:cNvPr>
            <p:cNvSpPr/>
            <p:nvPr userDrawn="1"/>
          </p:nvSpPr>
          <p:spPr bwMode="auto">
            <a:xfrm>
              <a:off x="7935433" y="2711760"/>
              <a:ext cx="197488" cy="294587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9" name="isḻîḋè">
              <a:extLst>
                <a:ext uri="{FF2B5EF4-FFF2-40B4-BE49-F238E27FC236}">
                  <a16:creationId xmlns:a16="http://schemas.microsoft.com/office/drawing/2014/main" id="{BCAD022A-2BB4-472F-A840-23B522639385}"/>
                </a:ext>
              </a:extLst>
            </p:cNvPr>
            <p:cNvSpPr/>
            <p:nvPr userDrawn="1"/>
          </p:nvSpPr>
          <p:spPr bwMode="auto">
            <a:xfrm>
              <a:off x="7979867" y="2784173"/>
              <a:ext cx="153054" cy="184322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0" name="íṥľïḓê">
              <a:extLst>
                <a:ext uri="{FF2B5EF4-FFF2-40B4-BE49-F238E27FC236}">
                  <a16:creationId xmlns:a16="http://schemas.microsoft.com/office/drawing/2014/main" id="{84E11F03-65D2-472A-B806-EC31231E8560}"/>
                </a:ext>
              </a:extLst>
            </p:cNvPr>
            <p:cNvSpPr/>
            <p:nvPr userDrawn="1"/>
          </p:nvSpPr>
          <p:spPr bwMode="auto">
            <a:xfrm>
              <a:off x="8011137" y="2789109"/>
              <a:ext cx="121784" cy="8393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1" name="íş1íḋê">
              <a:extLst>
                <a:ext uri="{FF2B5EF4-FFF2-40B4-BE49-F238E27FC236}">
                  <a16:creationId xmlns:a16="http://schemas.microsoft.com/office/drawing/2014/main" id="{265B95A3-5F30-4FC2-A4A7-9F23121DA964}"/>
                </a:ext>
              </a:extLst>
            </p:cNvPr>
            <p:cNvSpPr/>
            <p:nvPr userDrawn="1"/>
          </p:nvSpPr>
          <p:spPr bwMode="auto">
            <a:xfrm>
              <a:off x="8748427" y="2780881"/>
              <a:ext cx="222175" cy="297879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2" name="íṧḷíďè">
              <a:extLst>
                <a:ext uri="{FF2B5EF4-FFF2-40B4-BE49-F238E27FC236}">
                  <a16:creationId xmlns:a16="http://schemas.microsoft.com/office/drawing/2014/main" id="{7EB307C2-66A6-448A-8EF2-887D4820030E}"/>
                </a:ext>
              </a:extLst>
            </p:cNvPr>
            <p:cNvSpPr/>
            <p:nvPr userDrawn="1"/>
          </p:nvSpPr>
          <p:spPr bwMode="auto">
            <a:xfrm>
              <a:off x="8748427" y="2853294"/>
              <a:ext cx="179386" cy="182677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3" name="ïşlíďe">
              <a:extLst>
                <a:ext uri="{FF2B5EF4-FFF2-40B4-BE49-F238E27FC236}">
                  <a16:creationId xmlns:a16="http://schemas.microsoft.com/office/drawing/2014/main" id="{BCC22F31-6EDC-40F5-AA90-B5435AD95566}"/>
                </a:ext>
              </a:extLst>
            </p:cNvPr>
            <p:cNvSpPr/>
            <p:nvPr userDrawn="1"/>
          </p:nvSpPr>
          <p:spPr bwMode="auto">
            <a:xfrm>
              <a:off x="8764884" y="2861522"/>
              <a:ext cx="128367" cy="64184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4" name="íṧ1iḍé">
              <a:extLst>
                <a:ext uri="{FF2B5EF4-FFF2-40B4-BE49-F238E27FC236}">
                  <a16:creationId xmlns:a16="http://schemas.microsoft.com/office/drawing/2014/main" id="{C9504CCB-28EF-4A00-A933-5292602CF21B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5" name="íSḷíḍé">
              <a:extLst>
                <a:ext uri="{FF2B5EF4-FFF2-40B4-BE49-F238E27FC236}">
                  <a16:creationId xmlns:a16="http://schemas.microsoft.com/office/drawing/2014/main" id="{7EACEEDA-0104-47E3-9361-C75ED4FB9243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6" name="ï$lïďê">
              <a:extLst>
                <a:ext uri="{FF2B5EF4-FFF2-40B4-BE49-F238E27FC236}">
                  <a16:creationId xmlns:a16="http://schemas.microsoft.com/office/drawing/2014/main" id="{DDEAF4E3-2289-4F78-8E69-1051F1D900DE}"/>
                </a:ext>
              </a:extLst>
            </p:cNvPr>
            <p:cNvSpPr/>
            <p:nvPr userDrawn="1"/>
          </p:nvSpPr>
          <p:spPr bwMode="auto">
            <a:xfrm>
              <a:off x="8340284" y="3154463"/>
              <a:ext cx="182677" cy="92161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7" name="iṩlïḍe">
              <a:extLst>
                <a:ext uri="{FF2B5EF4-FFF2-40B4-BE49-F238E27FC236}">
                  <a16:creationId xmlns:a16="http://schemas.microsoft.com/office/drawing/2014/main" id="{EEB15323-3E5E-4EA2-BC14-74AA6034E31A}"/>
                </a:ext>
              </a:extLst>
            </p:cNvPr>
            <p:cNvSpPr/>
            <p:nvPr userDrawn="1"/>
          </p:nvSpPr>
          <p:spPr bwMode="auto">
            <a:xfrm>
              <a:off x="8086841" y="2441860"/>
              <a:ext cx="750456" cy="812994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8" name="iš1íḓè">
              <a:extLst>
                <a:ext uri="{FF2B5EF4-FFF2-40B4-BE49-F238E27FC236}">
                  <a16:creationId xmlns:a16="http://schemas.microsoft.com/office/drawing/2014/main" id="{FB6BD81C-6E5D-47F0-BB34-3B766D0EAEB0}"/>
                </a:ext>
              </a:extLst>
            </p:cNvPr>
            <p:cNvSpPr/>
            <p:nvPr userDrawn="1"/>
          </p:nvSpPr>
          <p:spPr bwMode="auto">
            <a:xfrm>
              <a:off x="8086841" y="2624536"/>
              <a:ext cx="4938" cy="106973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9" name="işļíḍê">
              <a:extLst>
                <a:ext uri="{FF2B5EF4-FFF2-40B4-BE49-F238E27FC236}">
                  <a16:creationId xmlns:a16="http://schemas.microsoft.com/office/drawing/2014/main" id="{7B86B38C-D93C-4170-B264-035D2D476A7A}"/>
                </a:ext>
              </a:extLst>
            </p:cNvPr>
            <p:cNvSpPr/>
            <p:nvPr userDrawn="1"/>
          </p:nvSpPr>
          <p:spPr bwMode="auto">
            <a:xfrm>
              <a:off x="7869603" y="2269057"/>
              <a:ext cx="1051626" cy="1007191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0" name="ïṡļíḋe">
              <a:extLst>
                <a:ext uri="{FF2B5EF4-FFF2-40B4-BE49-F238E27FC236}">
                  <a16:creationId xmlns:a16="http://schemas.microsoft.com/office/drawing/2014/main" id="{425DDDE3-FD47-4C2F-92D4-1BB0EEB89B81}"/>
                </a:ext>
              </a:extLst>
            </p:cNvPr>
            <p:cNvSpPr/>
            <p:nvPr userDrawn="1"/>
          </p:nvSpPr>
          <p:spPr bwMode="auto">
            <a:xfrm>
              <a:off x="7979867" y="2152210"/>
              <a:ext cx="891989" cy="743873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1" name="işľiḍê">
              <a:extLst>
                <a:ext uri="{FF2B5EF4-FFF2-40B4-BE49-F238E27FC236}">
                  <a16:creationId xmlns:a16="http://schemas.microsoft.com/office/drawing/2014/main" id="{2C0A9916-D892-44F9-9477-D9AE1C868060}"/>
                </a:ext>
              </a:extLst>
            </p:cNvPr>
            <p:cNvSpPr/>
            <p:nvPr userDrawn="1"/>
          </p:nvSpPr>
          <p:spPr bwMode="auto">
            <a:xfrm>
              <a:off x="7705030" y="3376638"/>
              <a:ext cx="1441665" cy="812994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2" name="işḻíḍé">
              <a:extLst>
                <a:ext uri="{FF2B5EF4-FFF2-40B4-BE49-F238E27FC236}">
                  <a16:creationId xmlns:a16="http://schemas.microsoft.com/office/drawing/2014/main" id="{0B7F69A2-5EB7-4398-A300-F6473A913EE7}"/>
                </a:ext>
              </a:extLst>
            </p:cNvPr>
            <p:cNvSpPr/>
            <p:nvPr userDrawn="1"/>
          </p:nvSpPr>
          <p:spPr bwMode="auto">
            <a:xfrm>
              <a:off x="7912393" y="3460570"/>
              <a:ext cx="1038460" cy="1224428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3" name="ïṣľïḓè">
              <a:extLst>
                <a:ext uri="{FF2B5EF4-FFF2-40B4-BE49-F238E27FC236}">
                  <a16:creationId xmlns:a16="http://schemas.microsoft.com/office/drawing/2014/main" id="{B439BE05-E6B7-49C2-A9D7-8B961D72535F}"/>
                </a:ext>
              </a:extLst>
            </p:cNvPr>
            <p:cNvSpPr/>
            <p:nvPr userDrawn="1"/>
          </p:nvSpPr>
          <p:spPr bwMode="auto">
            <a:xfrm>
              <a:off x="7961765" y="3460570"/>
              <a:ext cx="939716" cy="1152016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4" name="îšlídè">
              <a:extLst>
                <a:ext uri="{FF2B5EF4-FFF2-40B4-BE49-F238E27FC236}">
                  <a16:creationId xmlns:a16="http://schemas.microsoft.com/office/drawing/2014/main" id="{2444FEFA-AD39-45C4-A6EB-228191BBD7AF}"/>
                </a:ext>
              </a:extLst>
            </p:cNvPr>
            <p:cNvSpPr/>
            <p:nvPr userDrawn="1"/>
          </p:nvSpPr>
          <p:spPr bwMode="auto">
            <a:xfrm>
              <a:off x="7945307" y="2708469"/>
              <a:ext cx="941361" cy="610569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5" name="ïṩḷídé">
              <a:extLst>
                <a:ext uri="{FF2B5EF4-FFF2-40B4-BE49-F238E27FC236}">
                  <a16:creationId xmlns:a16="http://schemas.microsoft.com/office/drawing/2014/main" id="{65B09B65-DD99-43BC-BC3A-DB9FF9F2ABFF}"/>
                </a:ext>
              </a:extLst>
            </p:cNvPr>
            <p:cNvSpPr/>
            <p:nvPr userDrawn="1"/>
          </p:nvSpPr>
          <p:spPr bwMode="auto">
            <a:xfrm>
              <a:off x="8007845" y="2731509"/>
              <a:ext cx="821223" cy="534865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6" name="íŝliḓè">
              <a:extLst>
                <a:ext uri="{FF2B5EF4-FFF2-40B4-BE49-F238E27FC236}">
                  <a16:creationId xmlns:a16="http://schemas.microsoft.com/office/drawing/2014/main" id="{48296FFD-DB04-4589-813C-2CB5475A3B01}"/>
                </a:ext>
              </a:extLst>
            </p:cNvPr>
            <p:cNvSpPr/>
            <p:nvPr userDrawn="1"/>
          </p:nvSpPr>
          <p:spPr bwMode="auto">
            <a:xfrm>
              <a:off x="7805419" y="4704747"/>
              <a:ext cx="1214553" cy="284713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7" name="ïSľíḋê">
              <a:extLst>
                <a:ext uri="{FF2B5EF4-FFF2-40B4-BE49-F238E27FC236}">
                  <a16:creationId xmlns:a16="http://schemas.microsoft.com/office/drawing/2014/main" id="{6E575278-117E-48C6-9A90-0A02E061B476}"/>
                </a:ext>
              </a:extLst>
            </p:cNvPr>
            <p:cNvSpPr/>
            <p:nvPr userDrawn="1"/>
          </p:nvSpPr>
          <p:spPr bwMode="auto">
            <a:xfrm>
              <a:off x="7945307" y="4704747"/>
              <a:ext cx="929842" cy="72412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8" name="íšļiḑê">
              <a:extLst>
                <a:ext uri="{FF2B5EF4-FFF2-40B4-BE49-F238E27FC236}">
                  <a16:creationId xmlns:a16="http://schemas.microsoft.com/office/drawing/2014/main" id="{A5B4C972-F81E-4A36-97F5-5CB45073B33B}"/>
                </a:ext>
              </a:extLst>
            </p:cNvPr>
            <p:cNvSpPr/>
            <p:nvPr userDrawn="1"/>
          </p:nvSpPr>
          <p:spPr bwMode="auto">
            <a:xfrm>
              <a:off x="8351804" y="4989460"/>
              <a:ext cx="113556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9" name="îşļiḓè">
              <a:extLst>
                <a:ext uri="{FF2B5EF4-FFF2-40B4-BE49-F238E27FC236}">
                  <a16:creationId xmlns:a16="http://schemas.microsoft.com/office/drawing/2014/main" id="{0685CCE9-4C3B-458D-B689-D4CDADB1FE43}"/>
                </a:ext>
              </a:extLst>
            </p:cNvPr>
            <p:cNvSpPr/>
            <p:nvPr userDrawn="1"/>
          </p:nvSpPr>
          <p:spPr bwMode="auto">
            <a:xfrm>
              <a:off x="7815294" y="4875903"/>
              <a:ext cx="1193159" cy="113556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0" name="ïṥḻïḋê">
              <a:extLst>
                <a:ext uri="{FF2B5EF4-FFF2-40B4-BE49-F238E27FC236}">
                  <a16:creationId xmlns:a16="http://schemas.microsoft.com/office/drawing/2014/main" id="{18BB8CCB-7A37-4305-BC22-E897B2D7218F}"/>
                </a:ext>
              </a:extLst>
            </p:cNvPr>
            <p:cNvSpPr/>
            <p:nvPr userDrawn="1"/>
          </p:nvSpPr>
          <p:spPr bwMode="auto">
            <a:xfrm>
              <a:off x="8320535" y="4150134"/>
              <a:ext cx="179386" cy="1550284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1" name="işḻíḓé">
              <a:extLst>
                <a:ext uri="{FF2B5EF4-FFF2-40B4-BE49-F238E27FC236}">
                  <a16:creationId xmlns:a16="http://schemas.microsoft.com/office/drawing/2014/main" id="{2932BA5A-E590-446D-B0B5-F85B86EC9928}"/>
                </a:ext>
              </a:extLst>
            </p:cNvPr>
            <p:cNvSpPr/>
            <p:nvPr userDrawn="1"/>
          </p:nvSpPr>
          <p:spPr bwMode="auto">
            <a:xfrm>
              <a:off x="8346867" y="2856585"/>
              <a:ext cx="126722" cy="1316589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2" name="íṧḷidé">
              <a:extLst>
                <a:ext uri="{FF2B5EF4-FFF2-40B4-BE49-F238E27FC236}">
                  <a16:creationId xmlns:a16="http://schemas.microsoft.com/office/drawing/2014/main" id="{2D5B728A-3BBA-40F1-9634-ACC386604EE9}"/>
                </a:ext>
              </a:extLst>
            </p:cNvPr>
            <p:cNvSpPr/>
            <p:nvPr userDrawn="1"/>
          </p:nvSpPr>
          <p:spPr bwMode="auto">
            <a:xfrm>
              <a:off x="7675406" y="5688897"/>
              <a:ext cx="488784" cy="190905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3" name="i$ḷîde">
              <a:extLst>
                <a:ext uri="{FF2B5EF4-FFF2-40B4-BE49-F238E27FC236}">
                  <a16:creationId xmlns:a16="http://schemas.microsoft.com/office/drawing/2014/main" id="{812BEC7E-920B-41D1-A017-5F0EA119128E}"/>
                </a:ext>
              </a:extLst>
            </p:cNvPr>
            <p:cNvSpPr/>
            <p:nvPr userDrawn="1"/>
          </p:nvSpPr>
          <p:spPr bwMode="auto">
            <a:xfrm>
              <a:off x="7556913" y="4173174"/>
              <a:ext cx="855783" cy="855783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4" name="ïşḻïḓe">
              <a:extLst>
                <a:ext uri="{FF2B5EF4-FFF2-40B4-BE49-F238E27FC236}">
                  <a16:creationId xmlns:a16="http://schemas.microsoft.com/office/drawing/2014/main" id="{9B8FC791-6553-4B3F-823B-DA0CCE0AD320}"/>
                </a:ext>
              </a:extLst>
            </p:cNvPr>
            <p:cNvSpPr/>
            <p:nvPr userDrawn="1"/>
          </p:nvSpPr>
          <p:spPr bwMode="auto">
            <a:xfrm>
              <a:off x="8439028" y="4173174"/>
              <a:ext cx="852491" cy="855783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5" name="iṩḻïdè">
              <a:extLst>
                <a:ext uri="{FF2B5EF4-FFF2-40B4-BE49-F238E27FC236}">
                  <a16:creationId xmlns:a16="http://schemas.microsoft.com/office/drawing/2014/main" id="{C7B961F2-0FA1-496B-BF75-1B80184F7546}"/>
                </a:ext>
              </a:extLst>
            </p:cNvPr>
            <p:cNvSpPr/>
            <p:nvPr userDrawn="1"/>
          </p:nvSpPr>
          <p:spPr bwMode="auto">
            <a:xfrm>
              <a:off x="8309014" y="5700418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6" name="íṧḻíḋe">
              <a:extLst>
                <a:ext uri="{FF2B5EF4-FFF2-40B4-BE49-F238E27FC236}">
                  <a16:creationId xmlns:a16="http://schemas.microsoft.com/office/drawing/2014/main" id="{68EA8E57-BFE3-41B8-90C7-BAE4C2494936}"/>
                </a:ext>
              </a:extLst>
            </p:cNvPr>
            <p:cNvSpPr/>
            <p:nvPr userDrawn="1"/>
          </p:nvSpPr>
          <p:spPr bwMode="auto">
            <a:xfrm>
              <a:off x="8309014" y="4085950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7" name="ïş1ïḓê">
              <a:extLst>
                <a:ext uri="{FF2B5EF4-FFF2-40B4-BE49-F238E27FC236}">
                  <a16:creationId xmlns:a16="http://schemas.microsoft.com/office/drawing/2014/main" id="{D0752CDE-0251-4715-B0F5-4392FFAA894B}"/>
                </a:ext>
              </a:extLst>
            </p:cNvPr>
            <p:cNvSpPr/>
            <p:nvPr userDrawn="1"/>
          </p:nvSpPr>
          <p:spPr bwMode="auto">
            <a:xfrm>
              <a:off x="7961765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8" name="iṥḷïdé">
              <a:extLst>
                <a:ext uri="{FF2B5EF4-FFF2-40B4-BE49-F238E27FC236}">
                  <a16:creationId xmlns:a16="http://schemas.microsoft.com/office/drawing/2014/main" id="{F6EBCF3F-E47C-43D1-9DD6-AE7F8F37E631}"/>
                </a:ext>
              </a:extLst>
            </p:cNvPr>
            <p:cNvSpPr/>
            <p:nvPr userDrawn="1"/>
          </p:nvSpPr>
          <p:spPr bwMode="auto">
            <a:xfrm>
              <a:off x="8652974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9" name="îṩľîde">
              <a:extLst>
                <a:ext uri="{FF2B5EF4-FFF2-40B4-BE49-F238E27FC236}">
                  <a16:creationId xmlns:a16="http://schemas.microsoft.com/office/drawing/2014/main" id="{6A63D590-6C4D-47BF-9141-493E199B4666}"/>
                </a:ext>
              </a:extLst>
            </p:cNvPr>
            <p:cNvSpPr/>
            <p:nvPr userDrawn="1"/>
          </p:nvSpPr>
          <p:spPr bwMode="auto">
            <a:xfrm>
              <a:off x="8095069" y="5688897"/>
              <a:ext cx="635254" cy="72412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7565825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C152D1D-7FDA-4B90-AB7A-0D4131DCD89B}"/>
              </a:ext>
            </a:extLst>
          </p:cNvPr>
          <p:cNvSpPr/>
          <p:nvPr userDrawn="1"/>
        </p:nvSpPr>
        <p:spPr>
          <a:xfrm>
            <a:off x="0" y="4674818"/>
            <a:ext cx="12192000" cy="21831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24440" y="2701326"/>
            <a:ext cx="5419185" cy="580635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25556" y="3281962"/>
            <a:ext cx="5419185" cy="50622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93" name="组合 92">
            <a:extLst>
              <a:ext uri="{FF2B5EF4-FFF2-40B4-BE49-F238E27FC236}">
                <a16:creationId xmlns:a16="http://schemas.microsoft.com/office/drawing/2014/main" id="{73CB0458-96D7-47CF-9D9D-77DA477EE7F0}"/>
              </a:ext>
            </a:extLst>
          </p:cNvPr>
          <p:cNvGrpSpPr/>
          <p:nvPr userDrawn="1"/>
        </p:nvGrpSpPr>
        <p:grpSpPr>
          <a:xfrm>
            <a:off x="8700713" y="761637"/>
            <a:ext cx="3096562" cy="1915293"/>
            <a:chOff x="9312516" y="4779135"/>
            <a:chExt cx="2222733" cy="1374810"/>
          </a:xfrm>
        </p:grpSpPr>
        <p:sp>
          <p:nvSpPr>
            <p:cNvPr id="7" name="íšḷiḑe">
              <a:extLst>
                <a:ext uri="{FF2B5EF4-FFF2-40B4-BE49-F238E27FC236}">
                  <a16:creationId xmlns:a16="http://schemas.microsoft.com/office/drawing/2014/main" id="{BBF7B166-F012-4D09-959C-4D071E0F42DE}"/>
                </a:ext>
              </a:extLst>
            </p:cNvPr>
            <p:cNvSpPr/>
            <p:nvPr userDrawn="1"/>
          </p:nvSpPr>
          <p:spPr bwMode="auto">
            <a:xfrm>
              <a:off x="9916599" y="5070761"/>
              <a:ext cx="1084410" cy="1083184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îṩ1iḑé">
              <a:extLst>
                <a:ext uri="{FF2B5EF4-FFF2-40B4-BE49-F238E27FC236}">
                  <a16:creationId xmlns:a16="http://schemas.microsoft.com/office/drawing/2014/main" id="{BB1C054C-DB73-4138-B806-4B5EB9C7420E}"/>
                </a:ext>
              </a:extLst>
            </p:cNvPr>
            <p:cNvSpPr/>
            <p:nvPr userDrawn="1"/>
          </p:nvSpPr>
          <p:spPr bwMode="auto">
            <a:xfrm>
              <a:off x="11057374" y="5366064"/>
              <a:ext cx="477875" cy="47787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ṧ1îďê">
              <a:extLst>
                <a:ext uri="{FF2B5EF4-FFF2-40B4-BE49-F238E27FC236}">
                  <a16:creationId xmlns:a16="http://schemas.microsoft.com/office/drawing/2014/main" id="{16C7EFBB-8B52-4753-A58C-9737A95284BA}"/>
                </a:ext>
              </a:extLst>
            </p:cNvPr>
            <p:cNvSpPr/>
            <p:nvPr userDrawn="1"/>
          </p:nvSpPr>
          <p:spPr bwMode="auto">
            <a:xfrm>
              <a:off x="9312516" y="4779135"/>
              <a:ext cx="705785" cy="70333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B0875522-35FC-4DA1-B665-D5DB5E42C0E0}"/>
              </a:ext>
            </a:extLst>
          </p:cNvPr>
          <p:cNvGrpSpPr/>
          <p:nvPr userDrawn="1"/>
        </p:nvGrpSpPr>
        <p:grpSpPr>
          <a:xfrm>
            <a:off x="1589080" y="2450591"/>
            <a:ext cx="4506920" cy="3655809"/>
            <a:chOff x="1550010" y="2249015"/>
            <a:chExt cx="3756836" cy="3047375"/>
          </a:xfrm>
        </p:grpSpPr>
        <p:sp>
          <p:nvSpPr>
            <p:cNvPr id="5" name="îṣḷïde">
              <a:extLst>
                <a:ext uri="{FF2B5EF4-FFF2-40B4-BE49-F238E27FC236}">
                  <a16:creationId xmlns:a16="http://schemas.microsoft.com/office/drawing/2014/main" id="{BED1DF99-7A96-4F7F-A74F-51B366972BBE}"/>
                </a:ext>
              </a:extLst>
            </p:cNvPr>
            <p:cNvSpPr/>
            <p:nvPr userDrawn="1"/>
          </p:nvSpPr>
          <p:spPr bwMode="auto">
            <a:xfrm>
              <a:off x="1812229" y="2882506"/>
              <a:ext cx="482777" cy="113587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ïšḻíḍê">
              <a:extLst>
                <a:ext uri="{FF2B5EF4-FFF2-40B4-BE49-F238E27FC236}">
                  <a16:creationId xmlns:a16="http://schemas.microsoft.com/office/drawing/2014/main" id="{F2FB9165-B44D-49A5-8EE3-8C1F5AEB10AC}"/>
                </a:ext>
              </a:extLst>
            </p:cNvPr>
            <p:cNvSpPr/>
            <p:nvPr userDrawn="1"/>
          </p:nvSpPr>
          <p:spPr bwMode="auto">
            <a:xfrm>
              <a:off x="2215360" y="2882506"/>
              <a:ext cx="79646" cy="189925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íşlïďê">
              <a:extLst>
                <a:ext uri="{FF2B5EF4-FFF2-40B4-BE49-F238E27FC236}">
                  <a16:creationId xmlns:a16="http://schemas.microsoft.com/office/drawing/2014/main" id="{EF4DD151-9136-4644-977B-B301244A42EC}"/>
                </a:ext>
              </a:extLst>
            </p:cNvPr>
            <p:cNvSpPr/>
            <p:nvPr userDrawn="1"/>
          </p:nvSpPr>
          <p:spPr bwMode="auto">
            <a:xfrm>
              <a:off x="1550010" y="4018379"/>
              <a:ext cx="3756836" cy="96801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íśḷïdè">
              <a:extLst>
                <a:ext uri="{FF2B5EF4-FFF2-40B4-BE49-F238E27FC236}">
                  <a16:creationId xmlns:a16="http://schemas.microsoft.com/office/drawing/2014/main" id="{EE22E615-34E2-416D-B8D3-1D65A18F994A}"/>
                </a:ext>
              </a:extLst>
            </p:cNvPr>
            <p:cNvSpPr/>
            <p:nvPr userDrawn="1"/>
          </p:nvSpPr>
          <p:spPr bwMode="auto">
            <a:xfrm>
              <a:off x="1552460" y="4086998"/>
              <a:ext cx="3750710" cy="2818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îṥlïḋê">
              <a:extLst>
                <a:ext uri="{FF2B5EF4-FFF2-40B4-BE49-F238E27FC236}">
                  <a16:creationId xmlns:a16="http://schemas.microsoft.com/office/drawing/2014/main" id="{315A3D9D-1102-48B0-A564-E74F7009667E}"/>
                </a:ext>
              </a:extLst>
            </p:cNvPr>
            <p:cNvSpPr/>
            <p:nvPr userDrawn="1"/>
          </p:nvSpPr>
          <p:spPr bwMode="auto">
            <a:xfrm>
              <a:off x="2677305" y="3966915"/>
              <a:ext cx="1357656" cy="51464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îṣľíḑê">
              <a:extLst>
                <a:ext uri="{FF2B5EF4-FFF2-40B4-BE49-F238E27FC236}">
                  <a16:creationId xmlns:a16="http://schemas.microsoft.com/office/drawing/2014/main" id="{078083A2-DB7F-42B5-B496-2A6C2E587A08}"/>
                </a:ext>
              </a:extLst>
            </p:cNvPr>
            <p:cNvSpPr/>
            <p:nvPr userDrawn="1"/>
          </p:nvSpPr>
          <p:spPr bwMode="auto">
            <a:xfrm>
              <a:off x="2815767" y="3966915"/>
              <a:ext cx="1357656" cy="51464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ṩ1idè">
              <a:extLst>
                <a:ext uri="{FF2B5EF4-FFF2-40B4-BE49-F238E27FC236}">
                  <a16:creationId xmlns:a16="http://schemas.microsoft.com/office/drawing/2014/main" id="{925A7F4F-9393-4A6E-AB5E-A72DC0C5DEB3}"/>
                </a:ext>
              </a:extLst>
            </p:cNvPr>
            <p:cNvSpPr/>
            <p:nvPr userDrawn="1"/>
          </p:nvSpPr>
          <p:spPr bwMode="auto">
            <a:xfrm>
              <a:off x="2344018" y="2294351"/>
              <a:ext cx="2179848" cy="1360107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ŝḻïḓè">
              <a:extLst>
                <a:ext uri="{FF2B5EF4-FFF2-40B4-BE49-F238E27FC236}">
                  <a16:creationId xmlns:a16="http://schemas.microsoft.com/office/drawing/2014/main" id="{D8BFD442-D594-48CD-BFD9-27A76F60FD25}"/>
                </a:ext>
              </a:extLst>
            </p:cNvPr>
            <p:cNvSpPr/>
            <p:nvPr userDrawn="1"/>
          </p:nvSpPr>
          <p:spPr bwMode="auto">
            <a:xfrm>
              <a:off x="2344018" y="2294351"/>
              <a:ext cx="2179848" cy="142137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ṧľîḑe">
              <a:extLst>
                <a:ext uri="{FF2B5EF4-FFF2-40B4-BE49-F238E27FC236}">
                  <a16:creationId xmlns:a16="http://schemas.microsoft.com/office/drawing/2014/main" id="{D6EB4CD3-AFB2-40B4-BF20-EB2838BD74C1}"/>
                </a:ext>
              </a:extLst>
            </p:cNvPr>
            <p:cNvSpPr/>
            <p:nvPr userDrawn="1"/>
          </p:nvSpPr>
          <p:spPr bwMode="auto">
            <a:xfrm>
              <a:off x="3604874" y="2992784"/>
              <a:ext cx="301429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sļídè">
              <a:extLst>
                <a:ext uri="{FF2B5EF4-FFF2-40B4-BE49-F238E27FC236}">
                  <a16:creationId xmlns:a16="http://schemas.microsoft.com/office/drawing/2014/main" id="{E324133B-E87D-425B-A318-CC5D87EDABD6}"/>
                </a:ext>
              </a:extLst>
            </p:cNvPr>
            <p:cNvSpPr/>
            <p:nvPr userDrawn="1"/>
          </p:nvSpPr>
          <p:spPr bwMode="auto">
            <a:xfrm>
              <a:off x="3604874" y="3092036"/>
              <a:ext cx="374948" cy="51464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Slíḑè">
              <a:extLst>
                <a:ext uri="{FF2B5EF4-FFF2-40B4-BE49-F238E27FC236}">
                  <a16:creationId xmlns:a16="http://schemas.microsoft.com/office/drawing/2014/main" id="{B2D0AA01-C38D-452E-ACBD-0568883C121C}"/>
                </a:ext>
              </a:extLst>
            </p:cNvPr>
            <p:cNvSpPr/>
            <p:nvPr userDrawn="1"/>
          </p:nvSpPr>
          <p:spPr bwMode="auto">
            <a:xfrm>
              <a:off x="4017808" y="3092036"/>
              <a:ext cx="18502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ïslíďê">
              <a:extLst>
                <a:ext uri="{FF2B5EF4-FFF2-40B4-BE49-F238E27FC236}">
                  <a16:creationId xmlns:a16="http://schemas.microsoft.com/office/drawing/2014/main" id="{FCE60FEC-D87E-4560-A5D3-E0F0760BF388}"/>
                </a:ext>
              </a:extLst>
            </p:cNvPr>
            <p:cNvSpPr/>
            <p:nvPr userDrawn="1"/>
          </p:nvSpPr>
          <p:spPr bwMode="auto">
            <a:xfrm>
              <a:off x="3604874" y="3191287"/>
              <a:ext cx="14826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íṥļïďé">
              <a:extLst>
                <a:ext uri="{FF2B5EF4-FFF2-40B4-BE49-F238E27FC236}">
                  <a16:creationId xmlns:a16="http://schemas.microsoft.com/office/drawing/2014/main" id="{CD187B4A-8793-4B98-B3FF-0D759A860AA6}"/>
                </a:ext>
              </a:extLst>
            </p:cNvPr>
            <p:cNvSpPr/>
            <p:nvPr userDrawn="1"/>
          </p:nvSpPr>
          <p:spPr bwMode="auto">
            <a:xfrm>
              <a:off x="3803377" y="3191287"/>
              <a:ext cx="552621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ṧḻiďê">
              <a:extLst>
                <a:ext uri="{FF2B5EF4-FFF2-40B4-BE49-F238E27FC236}">
                  <a16:creationId xmlns:a16="http://schemas.microsoft.com/office/drawing/2014/main" id="{6B165554-4AD0-44E9-AD3A-E4A5D098812C}"/>
                </a:ext>
              </a:extLst>
            </p:cNvPr>
            <p:cNvSpPr/>
            <p:nvPr userDrawn="1"/>
          </p:nvSpPr>
          <p:spPr bwMode="auto">
            <a:xfrm>
              <a:off x="3803377" y="3191287"/>
              <a:ext cx="552621" cy="51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îṩḻiḓê">
              <a:extLst>
                <a:ext uri="{FF2B5EF4-FFF2-40B4-BE49-F238E27FC236}">
                  <a16:creationId xmlns:a16="http://schemas.microsoft.com/office/drawing/2014/main" id="{3250146E-631A-4625-B9E1-864B92989FE5}"/>
                </a:ext>
              </a:extLst>
            </p:cNvPr>
            <p:cNvSpPr/>
            <p:nvPr userDrawn="1"/>
          </p:nvSpPr>
          <p:spPr bwMode="auto">
            <a:xfrm>
              <a:off x="3974922" y="2992784"/>
              <a:ext cx="172770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îŝ1îḍê">
              <a:extLst>
                <a:ext uri="{FF2B5EF4-FFF2-40B4-BE49-F238E27FC236}">
                  <a16:creationId xmlns:a16="http://schemas.microsoft.com/office/drawing/2014/main" id="{18E97B02-E3C2-48C4-8BE8-5C32C2AAC097}"/>
                </a:ext>
              </a:extLst>
            </p:cNvPr>
            <p:cNvSpPr/>
            <p:nvPr userDrawn="1"/>
          </p:nvSpPr>
          <p:spPr bwMode="auto">
            <a:xfrm>
              <a:off x="3604874" y="2523487"/>
              <a:ext cx="301429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ṩ1îďé">
              <a:extLst>
                <a:ext uri="{FF2B5EF4-FFF2-40B4-BE49-F238E27FC236}">
                  <a16:creationId xmlns:a16="http://schemas.microsoft.com/office/drawing/2014/main" id="{347CD443-7B9F-4360-8866-630189E1B829}"/>
                </a:ext>
              </a:extLst>
            </p:cNvPr>
            <p:cNvSpPr/>
            <p:nvPr userDrawn="1"/>
          </p:nvSpPr>
          <p:spPr bwMode="auto">
            <a:xfrm>
              <a:off x="3604874" y="2623963"/>
              <a:ext cx="374948" cy="50239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iSḻíḍe">
              <a:extLst>
                <a:ext uri="{FF2B5EF4-FFF2-40B4-BE49-F238E27FC236}">
                  <a16:creationId xmlns:a16="http://schemas.microsoft.com/office/drawing/2014/main" id="{933E7EAD-C07E-412A-8881-4254EEE337DF}"/>
                </a:ext>
              </a:extLst>
            </p:cNvPr>
            <p:cNvSpPr/>
            <p:nvPr userDrawn="1"/>
          </p:nvSpPr>
          <p:spPr bwMode="auto">
            <a:xfrm>
              <a:off x="4017808" y="2623963"/>
              <a:ext cx="18502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ṥ1iḍè">
              <a:extLst>
                <a:ext uri="{FF2B5EF4-FFF2-40B4-BE49-F238E27FC236}">
                  <a16:creationId xmlns:a16="http://schemas.microsoft.com/office/drawing/2014/main" id="{9986CB17-3DB9-4127-A651-13236C8EF54E}"/>
                </a:ext>
              </a:extLst>
            </p:cNvPr>
            <p:cNvSpPr/>
            <p:nvPr userDrawn="1"/>
          </p:nvSpPr>
          <p:spPr bwMode="auto">
            <a:xfrm>
              <a:off x="3604874" y="2723214"/>
              <a:ext cx="148265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ṡ1íḓe">
              <a:extLst>
                <a:ext uri="{FF2B5EF4-FFF2-40B4-BE49-F238E27FC236}">
                  <a16:creationId xmlns:a16="http://schemas.microsoft.com/office/drawing/2014/main" id="{729FFAE1-5E2C-4954-8F4F-DFFB10DC1A1D}"/>
                </a:ext>
              </a:extLst>
            </p:cNvPr>
            <p:cNvSpPr/>
            <p:nvPr userDrawn="1"/>
          </p:nvSpPr>
          <p:spPr bwMode="auto">
            <a:xfrm>
              <a:off x="3803377" y="2723214"/>
              <a:ext cx="552621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íŝľíḑe">
              <a:extLst>
                <a:ext uri="{FF2B5EF4-FFF2-40B4-BE49-F238E27FC236}">
                  <a16:creationId xmlns:a16="http://schemas.microsoft.com/office/drawing/2014/main" id="{C76CDE87-989F-4FED-8C41-E5668EB96AFE}"/>
                </a:ext>
              </a:extLst>
            </p:cNvPr>
            <p:cNvSpPr/>
            <p:nvPr userDrawn="1"/>
          </p:nvSpPr>
          <p:spPr bwMode="auto">
            <a:xfrm>
              <a:off x="3974922" y="2523487"/>
              <a:ext cx="172770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ṥ1îḓè">
              <a:extLst>
                <a:ext uri="{FF2B5EF4-FFF2-40B4-BE49-F238E27FC236}">
                  <a16:creationId xmlns:a16="http://schemas.microsoft.com/office/drawing/2014/main" id="{6491BC25-5D16-416E-834C-C3C273B56AE3}"/>
                </a:ext>
              </a:extLst>
            </p:cNvPr>
            <p:cNvSpPr/>
            <p:nvPr userDrawn="1"/>
          </p:nvSpPr>
          <p:spPr bwMode="auto">
            <a:xfrm>
              <a:off x="2585407" y="2992784"/>
              <a:ext cx="30265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ṡḷidê">
              <a:extLst>
                <a:ext uri="{FF2B5EF4-FFF2-40B4-BE49-F238E27FC236}">
                  <a16:creationId xmlns:a16="http://schemas.microsoft.com/office/drawing/2014/main" id="{97646E6B-D97E-4144-BE27-DBF63D11F3E3}"/>
                </a:ext>
              </a:extLst>
            </p:cNvPr>
            <p:cNvSpPr/>
            <p:nvPr userDrawn="1"/>
          </p:nvSpPr>
          <p:spPr bwMode="auto">
            <a:xfrm>
              <a:off x="2585407" y="3092036"/>
              <a:ext cx="373723" cy="51464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Sḻïḑe">
              <a:extLst>
                <a:ext uri="{FF2B5EF4-FFF2-40B4-BE49-F238E27FC236}">
                  <a16:creationId xmlns:a16="http://schemas.microsoft.com/office/drawing/2014/main" id="{D6B8E12F-8709-43F2-806C-6CAB41D5FC94}"/>
                </a:ext>
              </a:extLst>
            </p:cNvPr>
            <p:cNvSpPr/>
            <p:nvPr userDrawn="1"/>
          </p:nvSpPr>
          <p:spPr bwMode="auto">
            <a:xfrm>
              <a:off x="2998340" y="3092036"/>
              <a:ext cx="18502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ŝlîḋe">
              <a:extLst>
                <a:ext uri="{FF2B5EF4-FFF2-40B4-BE49-F238E27FC236}">
                  <a16:creationId xmlns:a16="http://schemas.microsoft.com/office/drawing/2014/main" id="{518E2322-9EE4-474F-ADE3-FD2898161179}"/>
                </a:ext>
              </a:extLst>
            </p:cNvPr>
            <p:cNvSpPr/>
            <p:nvPr userDrawn="1"/>
          </p:nvSpPr>
          <p:spPr bwMode="auto">
            <a:xfrm>
              <a:off x="2585407" y="3191287"/>
              <a:ext cx="14826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ïṣḷidè">
              <a:extLst>
                <a:ext uri="{FF2B5EF4-FFF2-40B4-BE49-F238E27FC236}">
                  <a16:creationId xmlns:a16="http://schemas.microsoft.com/office/drawing/2014/main" id="{0BB4003C-99FF-44C8-9B1D-B72F6C0634E4}"/>
                </a:ext>
              </a:extLst>
            </p:cNvPr>
            <p:cNvSpPr/>
            <p:nvPr userDrawn="1"/>
          </p:nvSpPr>
          <p:spPr bwMode="auto">
            <a:xfrm>
              <a:off x="2785134" y="3191287"/>
              <a:ext cx="548944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ṧľîḓê">
              <a:extLst>
                <a:ext uri="{FF2B5EF4-FFF2-40B4-BE49-F238E27FC236}">
                  <a16:creationId xmlns:a16="http://schemas.microsoft.com/office/drawing/2014/main" id="{1F16BF9D-8781-431D-8816-B051BA40B836}"/>
                </a:ext>
              </a:extLst>
            </p:cNvPr>
            <p:cNvSpPr/>
            <p:nvPr userDrawn="1"/>
          </p:nvSpPr>
          <p:spPr bwMode="auto">
            <a:xfrm>
              <a:off x="2955454" y="2992784"/>
              <a:ext cx="173996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šḷîḓe">
              <a:extLst>
                <a:ext uri="{FF2B5EF4-FFF2-40B4-BE49-F238E27FC236}">
                  <a16:creationId xmlns:a16="http://schemas.microsoft.com/office/drawing/2014/main" id="{9A53BEED-3C4A-4059-B845-7D0D36B08474}"/>
                </a:ext>
              </a:extLst>
            </p:cNvPr>
            <p:cNvSpPr/>
            <p:nvPr userDrawn="1"/>
          </p:nvSpPr>
          <p:spPr bwMode="auto">
            <a:xfrm>
              <a:off x="2585407" y="2523487"/>
              <a:ext cx="302655" cy="51464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îśliḍé">
              <a:extLst>
                <a:ext uri="{FF2B5EF4-FFF2-40B4-BE49-F238E27FC236}">
                  <a16:creationId xmlns:a16="http://schemas.microsoft.com/office/drawing/2014/main" id="{7C686A36-4505-4F1A-BAF7-B4EFDAFBF0AF}"/>
                </a:ext>
              </a:extLst>
            </p:cNvPr>
            <p:cNvSpPr/>
            <p:nvPr userDrawn="1"/>
          </p:nvSpPr>
          <p:spPr bwMode="auto">
            <a:xfrm>
              <a:off x="2585407" y="2623963"/>
              <a:ext cx="373723" cy="50239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iṥ1iḍê">
              <a:extLst>
                <a:ext uri="{FF2B5EF4-FFF2-40B4-BE49-F238E27FC236}">
                  <a16:creationId xmlns:a16="http://schemas.microsoft.com/office/drawing/2014/main" id="{5051C958-829C-4DD0-89AD-F39D5FD792AD}"/>
                </a:ext>
              </a:extLst>
            </p:cNvPr>
            <p:cNvSpPr/>
            <p:nvPr userDrawn="1"/>
          </p:nvSpPr>
          <p:spPr bwMode="auto">
            <a:xfrm>
              <a:off x="2998340" y="2623963"/>
              <a:ext cx="18502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Slïḑe">
              <a:extLst>
                <a:ext uri="{FF2B5EF4-FFF2-40B4-BE49-F238E27FC236}">
                  <a16:creationId xmlns:a16="http://schemas.microsoft.com/office/drawing/2014/main" id="{A459608F-3AFA-4141-A1AE-F19022B144E8}"/>
                </a:ext>
              </a:extLst>
            </p:cNvPr>
            <p:cNvSpPr/>
            <p:nvPr userDrawn="1"/>
          </p:nvSpPr>
          <p:spPr bwMode="auto">
            <a:xfrm>
              <a:off x="2585407" y="2723214"/>
              <a:ext cx="148265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śľîďe">
              <a:extLst>
                <a:ext uri="{FF2B5EF4-FFF2-40B4-BE49-F238E27FC236}">
                  <a16:creationId xmlns:a16="http://schemas.microsoft.com/office/drawing/2014/main" id="{FD715729-8843-409A-AAC2-3E0D09CB3049}"/>
                </a:ext>
              </a:extLst>
            </p:cNvPr>
            <p:cNvSpPr/>
            <p:nvPr userDrawn="1"/>
          </p:nvSpPr>
          <p:spPr bwMode="auto">
            <a:xfrm>
              <a:off x="2785134" y="2723214"/>
              <a:ext cx="548944" cy="50239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îṡľiďé">
              <a:extLst>
                <a:ext uri="{FF2B5EF4-FFF2-40B4-BE49-F238E27FC236}">
                  <a16:creationId xmlns:a16="http://schemas.microsoft.com/office/drawing/2014/main" id="{1FFA919A-4F71-493D-9C86-6014F672844E}"/>
                </a:ext>
              </a:extLst>
            </p:cNvPr>
            <p:cNvSpPr/>
            <p:nvPr userDrawn="1"/>
          </p:nvSpPr>
          <p:spPr bwMode="auto">
            <a:xfrm>
              <a:off x="2955454" y="2523487"/>
              <a:ext cx="173996" cy="51464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ís1iḋê">
              <a:extLst>
                <a:ext uri="{FF2B5EF4-FFF2-40B4-BE49-F238E27FC236}">
                  <a16:creationId xmlns:a16="http://schemas.microsoft.com/office/drawing/2014/main" id="{02A3D0D4-41D4-4C40-BF57-01571A009C68}"/>
                </a:ext>
              </a:extLst>
            </p:cNvPr>
            <p:cNvSpPr/>
            <p:nvPr userDrawn="1"/>
          </p:nvSpPr>
          <p:spPr bwMode="auto">
            <a:xfrm>
              <a:off x="2295006" y="2249015"/>
              <a:ext cx="2274197" cy="1450781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Sľíḑé">
              <a:extLst>
                <a:ext uri="{FF2B5EF4-FFF2-40B4-BE49-F238E27FC236}">
                  <a16:creationId xmlns:a16="http://schemas.microsoft.com/office/drawing/2014/main" id="{DEE98AAA-891E-40EF-AD10-81540C98BE92}"/>
                </a:ext>
              </a:extLst>
            </p:cNvPr>
            <p:cNvSpPr/>
            <p:nvPr userDrawn="1"/>
          </p:nvSpPr>
          <p:spPr bwMode="auto">
            <a:xfrm>
              <a:off x="4182001" y="3236624"/>
              <a:ext cx="79646" cy="6127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slîďè">
              <a:extLst>
                <a:ext uri="{FF2B5EF4-FFF2-40B4-BE49-F238E27FC236}">
                  <a16:creationId xmlns:a16="http://schemas.microsoft.com/office/drawing/2014/main" id="{A1A59CF2-7C2A-41E5-878C-5326AA0ACDB1}"/>
                </a:ext>
              </a:extLst>
            </p:cNvPr>
            <p:cNvSpPr/>
            <p:nvPr userDrawn="1"/>
          </p:nvSpPr>
          <p:spPr bwMode="auto">
            <a:xfrm>
              <a:off x="4065595" y="3406943"/>
              <a:ext cx="486453" cy="287951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îSľiḑe">
              <a:extLst>
                <a:ext uri="{FF2B5EF4-FFF2-40B4-BE49-F238E27FC236}">
                  <a16:creationId xmlns:a16="http://schemas.microsoft.com/office/drawing/2014/main" id="{57D750CF-37DE-4665-9CB7-01AB39A41A02}"/>
                </a:ext>
              </a:extLst>
            </p:cNvPr>
            <p:cNvSpPr/>
            <p:nvPr userDrawn="1"/>
          </p:nvSpPr>
          <p:spPr bwMode="auto">
            <a:xfrm>
              <a:off x="2389356" y="2316407"/>
              <a:ext cx="2089174" cy="85773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Sļíḓè">
              <a:extLst>
                <a:ext uri="{FF2B5EF4-FFF2-40B4-BE49-F238E27FC236}">
                  <a16:creationId xmlns:a16="http://schemas.microsoft.com/office/drawing/2014/main" id="{6F350305-3324-45A3-B8A0-CB9ED19AFFA9}"/>
                </a:ext>
              </a:extLst>
            </p:cNvPr>
            <p:cNvSpPr/>
            <p:nvPr userDrawn="1"/>
          </p:nvSpPr>
          <p:spPr bwMode="auto">
            <a:xfrm>
              <a:off x="2295006" y="3527025"/>
              <a:ext cx="2274197" cy="172770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ṧḻídé">
              <a:extLst>
                <a:ext uri="{FF2B5EF4-FFF2-40B4-BE49-F238E27FC236}">
                  <a16:creationId xmlns:a16="http://schemas.microsoft.com/office/drawing/2014/main" id="{6CEB28B7-8744-4428-BD55-349B6D225EEF}"/>
                </a:ext>
              </a:extLst>
            </p:cNvPr>
            <p:cNvSpPr/>
            <p:nvPr userDrawn="1"/>
          </p:nvSpPr>
          <p:spPr bwMode="auto">
            <a:xfrm>
              <a:off x="4332716" y="2367871"/>
              <a:ext cx="46562" cy="45337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ṧlïḋê">
              <a:extLst>
                <a:ext uri="{FF2B5EF4-FFF2-40B4-BE49-F238E27FC236}">
                  <a16:creationId xmlns:a16="http://schemas.microsoft.com/office/drawing/2014/main" id="{7C679456-F585-4818-B794-9A4AD918F7B4}"/>
                </a:ext>
              </a:extLst>
            </p:cNvPr>
            <p:cNvSpPr/>
            <p:nvPr userDrawn="1"/>
          </p:nvSpPr>
          <p:spPr bwMode="auto">
            <a:xfrm>
              <a:off x="4253069" y="2367871"/>
              <a:ext cx="46562" cy="45337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Sḷîḍê">
              <a:extLst>
                <a:ext uri="{FF2B5EF4-FFF2-40B4-BE49-F238E27FC236}">
                  <a16:creationId xmlns:a16="http://schemas.microsoft.com/office/drawing/2014/main" id="{2276FD30-3EB1-4161-BB1B-6273497B99E8}"/>
                </a:ext>
              </a:extLst>
            </p:cNvPr>
            <p:cNvSpPr/>
            <p:nvPr userDrawn="1"/>
          </p:nvSpPr>
          <p:spPr bwMode="auto">
            <a:xfrm>
              <a:off x="4173424" y="2367871"/>
              <a:ext cx="46562" cy="45337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şlîḍe">
              <a:extLst>
                <a:ext uri="{FF2B5EF4-FFF2-40B4-BE49-F238E27FC236}">
                  <a16:creationId xmlns:a16="http://schemas.microsoft.com/office/drawing/2014/main" id="{9362D34F-AEE9-426A-962B-5CEB6FAEF8FF}"/>
                </a:ext>
              </a:extLst>
            </p:cNvPr>
            <p:cNvSpPr/>
            <p:nvPr userDrawn="1"/>
          </p:nvSpPr>
          <p:spPr bwMode="auto">
            <a:xfrm>
              <a:off x="2150418" y="2831042"/>
              <a:ext cx="572225" cy="1187337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ṧliḓe">
              <a:extLst>
                <a:ext uri="{FF2B5EF4-FFF2-40B4-BE49-F238E27FC236}">
                  <a16:creationId xmlns:a16="http://schemas.microsoft.com/office/drawing/2014/main" id="{E465730B-B4E3-45F7-9A17-D05BF1D44560}"/>
                </a:ext>
              </a:extLst>
            </p:cNvPr>
            <p:cNvSpPr/>
            <p:nvPr userDrawn="1"/>
          </p:nvSpPr>
          <p:spPr bwMode="auto">
            <a:xfrm>
              <a:off x="2232515" y="3038122"/>
              <a:ext cx="352893" cy="73519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šľïḍê">
              <a:extLst>
                <a:ext uri="{FF2B5EF4-FFF2-40B4-BE49-F238E27FC236}">
                  <a16:creationId xmlns:a16="http://schemas.microsoft.com/office/drawing/2014/main" id="{B60B31B6-2F6D-43E9-A087-7E65E0CDD14B}"/>
                </a:ext>
              </a:extLst>
            </p:cNvPr>
            <p:cNvSpPr/>
            <p:nvPr userDrawn="1"/>
          </p:nvSpPr>
          <p:spPr bwMode="auto">
            <a:xfrm>
              <a:off x="2135714" y="3299115"/>
              <a:ext cx="350442" cy="74745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ṡ1îḍe">
              <a:extLst>
                <a:ext uri="{FF2B5EF4-FFF2-40B4-BE49-F238E27FC236}">
                  <a16:creationId xmlns:a16="http://schemas.microsoft.com/office/drawing/2014/main" id="{816B332D-A7D7-441B-A1E5-F9962994DB11}"/>
                </a:ext>
              </a:extLst>
            </p:cNvPr>
            <p:cNvSpPr/>
            <p:nvPr userDrawn="1"/>
          </p:nvSpPr>
          <p:spPr bwMode="auto">
            <a:xfrm>
              <a:off x="2021759" y="3561334"/>
              <a:ext cx="359019" cy="7351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ṧḷídè">
              <a:extLst>
                <a:ext uri="{FF2B5EF4-FFF2-40B4-BE49-F238E27FC236}">
                  <a16:creationId xmlns:a16="http://schemas.microsoft.com/office/drawing/2014/main" id="{D304BA61-8182-4162-B06A-CCB3B84A59D3}"/>
                </a:ext>
              </a:extLst>
            </p:cNvPr>
            <p:cNvSpPr/>
            <p:nvPr userDrawn="1"/>
          </p:nvSpPr>
          <p:spPr bwMode="auto">
            <a:xfrm>
              <a:off x="1917607" y="3822327"/>
              <a:ext cx="346766" cy="7351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ṥļïďê">
              <a:extLst>
                <a:ext uri="{FF2B5EF4-FFF2-40B4-BE49-F238E27FC236}">
                  <a16:creationId xmlns:a16="http://schemas.microsoft.com/office/drawing/2014/main" id="{3C56152F-6DEA-455B-84F3-46512E0C54B5}"/>
                </a:ext>
              </a:extLst>
            </p:cNvPr>
            <p:cNvSpPr/>
            <p:nvPr userDrawn="1"/>
          </p:nvSpPr>
          <p:spPr bwMode="auto">
            <a:xfrm>
              <a:off x="4110932" y="3123895"/>
              <a:ext cx="709462" cy="903062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ṡlîḑe">
              <a:extLst>
                <a:ext uri="{FF2B5EF4-FFF2-40B4-BE49-F238E27FC236}">
                  <a16:creationId xmlns:a16="http://schemas.microsoft.com/office/drawing/2014/main" id="{AB28FAAC-F46A-4766-9105-5D772167698A}"/>
                </a:ext>
              </a:extLst>
            </p:cNvPr>
            <p:cNvSpPr/>
            <p:nvPr userDrawn="1"/>
          </p:nvSpPr>
          <p:spPr bwMode="auto">
            <a:xfrm>
              <a:off x="4362124" y="3421647"/>
              <a:ext cx="398230" cy="53424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šļiḍé">
              <a:extLst>
                <a:ext uri="{FF2B5EF4-FFF2-40B4-BE49-F238E27FC236}">
                  <a16:creationId xmlns:a16="http://schemas.microsoft.com/office/drawing/2014/main" id="{A3F7342D-749D-43FF-A5BE-1FFFE09FBDBA}"/>
                </a:ext>
              </a:extLst>
            </p:cNvPr>
            <p:cNvSpPr/>
            <p:nvPr userDrawn="1"/>
          </p:nvSpPr>
          <p:spPr bwMode="auto">
            <a:xfrm>
              <a:off x="3419851" y="4188698"/>
              <a:ext cx="583253" cy="943498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$ḷïḑe">
              <a:extLst>
                <a:ext uri="{FF2B5EF4-FFF2-40B4-BE49-F238E27FC236}">
                  <a16:creationId xmlns:a16="http://schemas.microsoft.com/office/drawing/2014/main" id="{679F26A2-6F07-498C-9784-653EA60F672B}"/>
                </a:ext>
              </a:extLst>
            </p:cNvPr>
            <p:cNvSpPr/>
            <p:nvPr userDrawn="1"/>
          </p:nvSpPr>
          <p:spPr bwMode="auto">
            <a:xfrm>
              <a:off x="3613451" y="5132196"/>
              <a:ext cx="366372" cy="142137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s1îḓe">
              <a:extLst>
                <a:ext uri="{FF2B5EF4-FFF2-40B4-BE49-F238E27FC236}">
                  <a16:creationId xmlns:a16="http://schemas.microsoft.com/office/drawing/2014/main" id="{88F5140E-0499-4892-AFCC-DF03767705D0}"/>
                </a:ext>
              </a:extLst>
            </p:cNvPr>
            <p:cNvSpPr/>
            <p:nvPr userDrawn="1"/>
          </p:nvSpPr>
          <p:spPr bwMode="auto">
            <a:xfrm>
              <a:off x="2856203" y="4188698"/>
              <a:ext cx="583253" cy="943498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ṥļîdê">
              <a:extLst>
                <a:ext uri="{FF2B5EF4-FFF2-40B4-BE49-F238E27FC236}">
                  <a16:creationId xmlns:a16="http://schemas.microsoft.com/office/drawing/2014/main" id="{8937C7A2-E716-4C3D-BEF9-42ED86EFFE95}"/>
                </a:ext>
              </a:extLst>
            </p:cNvPr>
            <p:cNvSpPr/>
            <p:nvPr userDrawn="1"/>
          </p:nvSpPr>
          <p:spPr bwMode="auto">
            <a:xfrm>
              <a:off x="3073085" y="2915589"/>
              <a:ext cx="147038" cy="21933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sḻîḋè">
              <a:extLst>
                <a:ext uri="{FF2B5EF4-FFF2-40B4-BE49-F238E27FC236}">
                  <a16:creationId xmlns:a16="http://schemas.microsoft.com/office/drawing/2014/main" id="{DC95E2C6-9082-4308-BBB6-3669C50628B9}"/>
                </a:ext>
              </a:extLst>
            </p:cNvPr>
            <p:cNvSpPr/>
            <p:nvPr userDrawn="1"/>
          </p:nvSpPr>
          <p:spPr bwMode="auto">
            <a:xfrm>
              <a:off x="3106168" y="2969504"/>
              <a:ext cx="113955" cy="137236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ṥľïḓê">
              <a:extLst>
                <a:ext uri="{FF2B5EF4-FFF2-40B4-BE49-F238E27FC236}">
                  <a16:creationId xmlns:a16="http://schemas.microsoft.com/office/drawing/2014/main" id="{F15034DD-4139-4A5D-A1FC-BD130ED0B7CC}"/>
                </a:ext>
              </a:extLst>
            </p:cNvPr>
            <p:cNvSpPr/>
            <p:nvPr userDrawn="1"/>
          </p:nvSpPr>
          <p:spPr bwMode="auto">
            <a:xfrm>
              <a:off x="3129450" y="2973179"/>
              <a:ext cx="90673" cy="62492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ş1íḋê">
              <a:extLst>
                <a:ext uri="{FF2B5EF4-FFF2-40B4-BE49-F238E27FC236}">
                  <a16:creationId xmlns:a16="http://schemas.microsoft.com/office/drawing/2014/main" id="{7FA3233B-B5FE-4ED5-806B-A330FAD55AC1}"/>
                </a:ext>
              </a:extLst>
            </p:cNvPr>
            <p:cNvSpPr/>
            <p:nvPr userDrawn="1"/>
          </p:nvSpPr>
          <p:spPr bwMode="auto">
            <a:xfrm>
              <a:off x="3678394" y="2967053"/>
              <a:ext cx="165419" cy="221784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ṧḷíďè">
              <a:extLst>
                <a:ext uri="{FF2B5EF4-FFF2-40B4-BE49-F238E27FC236}">
                  <a16:creationId xmlns:a16="http://schemas.microsoft.com/office/drawing/2014/main" id="{CF755CEF-235E-4910-9B47-311E7EE20948}"/>
                </a:ext>
              </a:extLst>
            </p:cNvPr>
            <p:cNvSpPr/>
            <p:nvPr userDrawn="1"/>
          </p:nvSpPr>
          <p:spPr bwMode="auto">
            <a:xfrm>
              <a:off x="3678394" y="3020968"/>
              <a:ext cx="133561" cy="136011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líďe">
              <a:extLst>
                <a:ext uri="{FF2B5EF4-FFF2-40B4-BE49-F238E27FC236}">
                  <a16:creationId xmlns:a16="http://schemas.microsoft.com/office/drawing/2014/main" id="{564DCA01-4D4E-4203-AC3D-91DD158DF283}"/>
                </a:ext>
              </a:extLst>
            </p:cNvPr>
            <p:cNvSpPr/>
            <p:nvPr userDrawn="1"/>
          </p:nvSpPr>
          <p:spPr bwMode="auto">
            <a:xfrm>
              <a:off x="3690647" y="3027094"/>
              <a:ext cx="95575" cy="47788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ṧ1iḍé">
              <a:extLst>
                <a:ext uri="{FF2B5EF4-FFF2-40B4-BE49-F238E27FC236}">
                  <a16:creationId xmlns:a16="http://schemas.microsoft.com/office/drawing/2014/main" id="{F7C9D85A-62D0-4F60-844E-CBE9328B058E}"/>
                </a:ext>
              </a:extLst>
            </p:cNvPr>
            <p:cNvSpPr/>
            <p:nvPr userDrawn="1"/>
          </p:nvSpPr>
          <p:spPr bwMode="auto">
            <a:xfrm>
              <a:off x="3370838" y="3214568"/>
              <a:ext cx="139687" cy="246290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Sḷíḍé">
              <a:extLst>
                <a:ext uri="{FF2B5EF4-FFF2-40B4-BE49-F238E27FC236}">
                  <a16:creationId xmlns:a16="http://schemas.microsoft.com/office/drawing/2014/main" id="{8444D3B0-2E49-4319-8C2D-7129D1A8ACEC}"/>
                </a:ext>
              </a:extLst>
            </p:cNvPr>
            <p:cNvSpPr/>
            <p:nvPr userDrawn="1"/>
          </p:nvSpPr>
          <p:spPr bwMode="auto">
            <a:xfrm>
              <a:off x="3370838" y="3214568"/>
              <a:ext cx="139687" cy="246290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$lïďê">
              <a:extLst>
                <a:ext uri="{FF2B5EF4-FFF2-40B4-BE49-F238E27FC236}">
                  <a16:creationId xmlns:a16="http://schemas.microsoft.com/office/drawing/2014/main" id="{1FEAE8C5-DC59-4A3D-B5AA-92883DF37022}"/>
                </a:ext>
              </a:extLst>
            </p:cNvPr>
            <p:cNvSpPr/>
            <p:nvPr userDrawn="1"/>
          </p:nvSpPr>
          <p:spPr bwMode="auto">
            <a:xfrm>
              <a:off x="3374514" y="3245201"/>
              <a:ext cx="136011" cy="68618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ṩlïḍe">
              <a:extLst>
                <a:ext uri="{FF2B5EF4-FFF2-40B4-BE49-F238E27FC236}">
                  <a16:creationId xmlns:a16="http://schemas.microsoft.com/office/drawing/2014/main" id="{F474C644-7DD8-468F-8644-97C12280CA91}"/>
                </a:ext>
              </a:extLst>
            </p:cNvPr>
            <p:cNvSpPr/>
            <p:nvPr userDrawn="1"/>
          </p:nvSpPr>
          <p:spPr bwMode="auto">
            <a:xfrm>
              <a:off x="3185815" y="2714637"/>
              <a:ext cx="558747" cy="605309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š1íḓè">
              <a:extLst>
                <a:ext uri="{FF2B5EF4-FFF2-40B4-BE49-F238E27FC236}">
                  <a16:creationId xmlns:a16="http://schemas.microsoft.com/office/drawing/2014/main" id="{5D558924-D779-4841-9E59-C2CF35D34ECF}"/>
                </a:ext>
              </a:extLst>
            </p:cNvPr>
            <p:cNvSpPr/>
            <p:nvPr userDrawn="1"/>
          </p:nvSpPr>
          <p:spPr bwMode="auto">
            <a:xfrm>
              <a:off x="3185815" y="2850647"/>
              <a:ext cx="3677" cy="79646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şļíḍê">
              <a:extLst>
                <a:ext uri="{FF2B5EF4-FFF2-40B4-BE49-F238E27FC236}">
                  <a16:creationId xmlns:a16="http://schemas.microsoft.com/office/drawing/2014/main" id="{E199D2AC-6012-42CF-9551-E91B1B858C9D}"/>
                </a:ext>
              </a:extLst>
            </p:cNvPr>
            <p:cNvSpPr/>
            <p:nvPr userDrawn="1"/>
          </p:nvSpPr>
          <p:spPr bwMode="auto">
            <a:xfrm>
              <a:off x="3024072" y="2585978"/>
              <a:ext cx="782981" cy="749897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ïṡļíḋe">
              <a:extLst>
                <a:ext uri="{FF2B5EF4-FFF2-40B4-BE49-F238E27FC236}">
                  <a16:creationId xmlns:a16="http://schemas.microsoft.com/office/drawing/2014/main" id="{D1D99DB1-9EF8-4E78-A70B-D9B055939F45}"/>
                </a:ext>
              </a:extLst>
            </p:cNvPr>
            <p:cNvSpPr/>
            <p:nvPr userDrawn="1"/>
          </p:nvSpPr>
          <p:spPr bwMode="auto">
            <a:xfrm>
              <a:off x="3106168" y="2498980"/>
              <a:ext cx="664124" cy="553845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şľiḍê">
              <a:extLst>
                <a:ext uri="{FF2B5EF4-FFF2-40B4-BE49-F238E27FC236}">
                  <a16:creationId xmlns:a16="http://schemas.microsoft.com/office/drawing/2014/main" id="{BD8527B5-9685-43D9-A4BB-24D31A1DC873}"/>
                </a:ext>
              </a:extLst>
            </p:cNvPr>
            <p:cNvSpPr/>
            <p:nvPr userDrawn="1"/>
          </p:nvSpPr>
          <p:spPr bwMode="auto">
            <a:xfrm>
              <a:off x="2901540" y="3410620"/>
              <a:ext cx="1073382" cy="605309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şḻíḍé">
              <a:extLst>
                <a:ext uri="{FF2B5EF4-FFF2-40B4-BE49-F238E27FC236}">
                  <a16:creationId xmlns:a16="http://schemas.microsoft.com/office/drawing/2014/main" id="{87DF0451-204A-474F-A58F-D13039627FD6}"/>
                </a:ext>
              </a:extLst>
            </p:cNvPr>
            <p:cNvSpPr/>
            <p:nvPr userDrawn="1"/>
          </p:nvSpPr>
          <p:spPr bwMode="auto">
            <a:xfrm>
              <a:off x="3055931" y="3473111"/>
              <a:ext cx="773178" cy="911639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ṣľïḓè">
              <a:extLst>
                <a:ext uri="{FF2B5EF4-FFF2-40B4-BE49-F238E27FC236}">
                  <a16:creationId xmlns:a16="http://schemas.microsoft.com/office/drawing/2014/main" id="{72328A9B-5B48-4A75-AE33-79F12AF9E653}"/>
                </a:ext>
              </a:extLst>
            </p:cNvPr>
            <p:cNvSpPr/>
            <p:nvPr userDrawn="1"/>
          </p:nvSpPr>
          <p:spPr bwMode="auto">
            <a:xfrm>
              <a:off x="3092691" y="3473111"/>
              <a:ext cx="699659" cy="857725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šlídè">
              <a:extLst>
                <a:ext uri="{FF2B5EF4-FFF2-40B4-BE49-F238E27FC236}">
                  <a16:creationId xmlns:a16="http://schemas.microsoft.com/office/drawing/2014/main" id="{06E681C1-1770-438C-92E0-4908FDED543C}"/>
                </a:ext>
              </a:extLst>
            </p:cNvPr>
            <p:cNvSpPr/>
            <p:nvPr userDrawn="1"/>
          </p:nvSpPr>
          <p:spPr bwMode="auto">
            <a:xfrm>
              <a:off x="3080437" y="2913139"/>
              <a:ext cx="700884" cy="454595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ṩḷídé">
              <a:extLst>
                <a:ext uri="{FF2B5EF4-FFF2-40B4-BE49-F238E27FC236}">
                  <a16:creationId xmlns:a16="http://schemas.microsoft.com/office/drawing/2014/main" id="{660F0BB5-1EC9-4845-B263-4ED425A0F5C0}"/>
                </a:ext>
              </a:extLst>
            </p:cNvPr>
            <p:cNvSpPr/>
            <p:nvPr userDrawn="1"/>
          </p:nvSpPr>
          <p:spPr bwMode="auto">
            <a:xfrm>
              <a:off x="3126999" y="2930293"/>
              <a:ext cx="611436" cy="398230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ŝliḓè">
              <a:extLst>
                <a:ext uri="{FF2B5EF4-FFF2-40B4-BE49-F238E27FC236}">
                  <a16:creationId xmlns:a16="http://schemas.microsoft.com/office/drawing/2014/main" id="{693C7819-0F20-4631-A6EB-872578CB9B16}"/>
                </a:ext>
              </a:extLst>
            </p:cNvPr>
            <p:cNvSpPr/>
            <p:nvPr userDrawn="1"/>
          </p:nvSpPr>
          <p:spPr bwMode="auto">
            <a:xfrm>
              <a:off x="2976284" y="4399454"/>
              <a:ext cx="904287" cy="211981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Sľíḋê">
              <a:extLst>
                <a:ext uri="{FF2B5EF4-FFF2-40B4-BE49-F238E27FC236}">
                  <a16:creationId xmlns:a16="http://schemas.microsoft.com/office/drawing/2014/main" id="{8F9C19EF-98C8-4981-AAF6-9D1923B1EE08}"/>
                </a:ext>
              </a:extLst>
            </p:cNvPr>
            <p:cNvSpPr/>
            <p:nvPr userDrawn="1"/>
          </p:nvSpPr>
          <p:spPr bwMode="auto">
            <a:xfrm>
              <a:off x="3080437" y="4399454"/>
              <a:ext cx="692307" cy="53914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šļiḑê">
              <a:extLst>
                <a:ext uri="{FF2B5EF4-FFF2-40B4-BE49-F238E27FC236}">
                  <a16:creationId xmlns:a16="http://schemas.microsoft.com/office/drawing/2014/main" id="{AA22B452-E548-44EA-9455-BF4F3923065D}"/>
                </a:ext>
              </a:extLst>
            </p:cNvPr>
            <p:cNvSpPr/>
            <p:nvPr userDrawn="1"/>
          </p:nvSpPr>
          <p:spPr bwMode="auto">
            <a:xfrm>
              <a:off x="3383091" y="4611435"/>
              <a:ext cx="84547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şļiḓè">
              <a:extLst>
                <a:ext uri="{FF2B5EF4-FFF2-40B4-BE49-F238E27FC236}">
                  <a16:creationId xmlns:a16="http://schemas.microsoft.com/office/drawing/2014/main" id="{64D6E0F5-4B9A-430B-AEBC-FD608ACB500C}"/>
                </a:ext>
              </a:extLst>
            </p:cNvPr>
            <p:cNvSpPr/>
            <p:nvPr userDrawn="1"/>
          </p:nvSpPr>
          <p:spPr bwMode="auto">
            <a:xfrm>
              <a:off x="2983637" y="4526887"/>
              <a:ext cx="888358" cy="84547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ṥḻïḋê">
              <a:extLst>
                <a:ext uri="{FF2B5EF4-FFF2-40B4-BE49-F238E27FC236}">
                  <a16:creationId xmlns:a16="http://schemas.microsoft.com/office/drawing/2014/main" id="{7397400A-7416-4E12-9660-155DE38804C8}"/>
                </a:ext>
              </a:extLst>
            </p:cNvPr>
            <p:cNvSpPr/>
            <p:nvPr userDrawn="1"/>
          </p:nvSpPr>
          <p:spPr bwMode="auto">
            <a:xfrm>
              <a:off x="3359810" y="3986521"/>
              <a:ext cx="133561" cy="1154253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şḻíḓé">
              <a:extLst>
                <a:ext uri="{FF2B5EF4-FFF2-40B4-BE49-F238E27FC236}">
                  <a16:creationId xmlns:a16="http://schemas.microsoft.com/office/drawing/2014/main" id="{F40D78CA-C1A7-4E12-85E0-5B21CEF3CB89}"/>
                </a:ext>
              </a:extLst>
            </p:cNvPr>
            <p:cNvSpPr/>
            <p:nvPr userDrawn="1"/>
          </p:nvSpPr>
          <p:spPr bwMode="auto">
            <a:xfrm>
              <a:off x="3379416" y="3023418"/>
              <a:ext cx="94350" cy="980257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ṧḷidé">
              <a:extLst>
                <a:ext uri="{FF2B5EF4-FFF2-40B4-BE49-F238E27FC236}">
                  <a16:creationId xmlns:a16="http://schemas.microsoft.com/office/drawing/2014/main" id="{6B9EA5DD-B3B5-4674-982B-8269182E4792}"/>
                </a:ext>
              </a:extLst>
            </p:cNvPr>
            <p:cNvSpPr/>
            <p:nvPr userDrawn="1"/>
          </p:nvSpPr>
          <p:spPr bwMode="auto">
            <a:xfrm>
              <a:off x="2879484" y="5132196"/>
              <a:ext cx="363921" cy="142137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$ḷîde">
              <a:extLst>
                <a:ext uri="{FF2B5EF4-FFF2-40B4-BE49-F238E27FC236}">
                  <a16:creationId xmlns:a16="http://schemas.microsoft.com/office/drawing/2014/main" id="{BE7762C7-EE51-4CE3-80BE-B5E9BE586DE3}"/>
                </a:ext>
              </a:extLst>
            </p:cNvPr>
            <p:cNvSpPr/>
            <p:nvPr userDrawn="1"/>
          </p:nvSpPr>
          <p:spPr bwMode="auto">
            <a:xfrm>
              <a:off x="2791261" y="4003675"/>
              <a:ext cx="637167" cy="637167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ïşḻïḓe">
              <a:extLst>
                <a:ext uri="{FF2B5EF4-FFF2-40B4-BE49-F238E27FC236}">
                  <a16:creationId xmlns:a16="http://schemas.microsoft.com/office/drawing/2014/main" id="{7A036AC6-CC89-4A17-9BF5-E7B1B736CC34}"/>
                </a:ext>
              </a:extLst>
            </p:cNvPr>
            <p:cNvSpPr/>
            <p:nvPr userDrawn="1"/>
          </p:nvSpPr>
          <p:spPr bwMode="auto">
            <a:xfrm>
              <a:off x="3448033" y="4003675"/>
              <a:ext cx="634716" cy="637167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ṩḻïdè">
              <a:extLst>
                <a:ext uri="{FF2B5EF4-FFF2-40B4-BE49-F238E27FC236}">
                  <a16:creationId xmlns:a16="http://schemas.microsoft.com/office/drawing/2014/main" id="{4F1F048A-0DFF-4047-A96C-CDD318D1C55D}"/>
                </a:ext>
              </a:extLst>
            </p:cNvPr>
            <p:cNvSpPr/>
            <p:nvPr userDrawn="1"/>
          </p:nvSpPr>
          <p:spPr bwMode="auto">
            <a:xfrm>
              <a:off x="3351232" y="5140774"/>
              <a:ext cx="15439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ṧḻíḋe">
              <a:extLst>
                <a:ext uri="{FF2B5EF4-FFF2-40B4-BE49-F238E27FC236}">
                  <a16:creationId xmlns:a16="http://schemas.microsoft.com/office/drawing/2014/main" id="{7E3D1555-9967-463E-9E9F-F7798D0B1E59}"/>
                </a:ext>
              </a:extLst>
            </p:cNvPr>
            <p:cNvSpPr/>
            <p:nvPr userDrawn="1"/>
          </p:nvSpPr>
          <p:spPr bwMode="auto">
            <a:xfrm>
              <a:off x="3351232" y="3938733"/>
              <a:ext cx="15439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ş1ïḓê">
              <a:extLst>
                <a:ext uri="{FF2B5EF4-FFF2-40B4-BE49-F238E27FC236}">
                  <a16:creationId xmlns:a16="http://schemas.microsoft.com/office/drawing/2014/main" id="{2F8B09D7-F978-4EBB-8359-FA129BBD12AC}"/>
                </a:ext>
              </a:extLst>
            </p:cNvPr>
            <p:cNvSpPr/>
            <p:nvPr userDrawn="1"/>
          </p:nvSpPr>
          <p:spPr bwMode="auto">
            <a:xfrm>
              <a:off x="3092691" y="5140774"/>
              <a:ext cx="15684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ṥḷïdé">
              <a:extLst>
                <a:ext uri="{FF2B5EF4-FFF2-40B4-BE49-F238E27FC236}">
                  <a16:creationId xmlns:a16="http://schemas.microsoft.com/office/drawing/2014/main" id="{A3740707-E853-471E-80F9-03B74FB77764}"/>
                </a:ext>
              </a:extLst>
            </p:cNvPr>
            <p:cNvSpPr/>
            <p:nvPr userDrawn="1"/>
          </p:nvSpPr>
          <p:spPr bwMode="auto">
            <a:xfrm>
              <a:off x="3607325" y="5140774"/>
              <a:ext cx="156841" cy="155616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ṩľîde">
              <a:extLst>
                <a:ext uri="{FF2B5EF4-FFF2-40B4-BE49-F238E27FC236}">
                  <a16:creationId xmlns:a16="http://schemas.microsoft.com/office/drawing/2014/main" id="{9E5DBF7A-9115-4EA5-ACEB-31A89AB7BA0F}"/>
                </a:ext>
              </a:extLst>
            </p:cNvPr>
            <p:cNvSpPr/>
            <p:nvPr userDrawn="1"/>
          </p:nvSpPr>
          <p:spPr bwMode="auto">
            <a:xfrm>
              <a:off x="3191941" y="5132196"/>
              <a:ext cx="472974" cy="53914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3978087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12/2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249950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12/21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16156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89468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矩形 208">
            <a:extLst>
              <a:ext uri="{FF2B5EF4-FFF2-40B4-BE49-F238E27FC236}">
                <a16:creationId xmlns:a16="http://schemas.microsoft.com/office/drawing/2014/main" id="{8C37FE3A-6A6F-4D83-8E68-1ACB1353CE3B}"/>
              </a:ext>
            </a:extLst>
          </p:cNvPr>
          <p:cNvSpPr/>
          <p:nvPr userDrawn="1"/>
        </p:nvSpPr>
        <p:spPr>
          <a:xfrm>
            <a:off x="0" y="3501445"/>
            <a:ext cx="12192000" cy="3364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10" name="组合 20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E61662C-3B31-49F7-B7A6-4C83CFB01F0B}"/>
              </a:ext>
            </a:extLst>
          </p:cNvPr>
          <p:cNvGrpSpPr/>
          <p:nvPr userDrawn="1"/>
        </p:nvGrpSpPr>
        <p:grpSpPr>
          <a:xfrm>
            <a:off x="2566182" y="1205559"/>
            <a:ext cx="3529818" cy="3435378"/>
            <a:chOff x="3660775" y="974725"/>
            <a:chExt cx="5043488" cy="4908550"/>
          </a:xfrm>
        </p:grpSpPr>
        <p:sp>
          <p:nvSpPr>
            <p:cNvPr id="211" name="îṣḷïde">
              <a:extLst>
                <a:ext uri="{FF2B5EF4-FFF2-40B4-BE49-F238E27FC236}">
                  <a16:creationId xmlns:a16="http://schemas.microsoft.com/office/drawing/2014/main" id="{9F815CED-9F4A-4838-B283-7E3090059E38}"/>
                </a:ext>
              </a:extLst>
            </p:cNvPr>
            <p:cNvSpPr/>
            <p:nvPr userDrawn="1"/>
          </p:nvSpPr>
          <p:spPr bwMode="auto">
            <a:xfrm>
              <a:off x="4000500" y="2686050"/>
              <a:ext cx="625475" cy="147161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2" name="ïšḻíḍê">
              <a:extLst>
                <a:ext uri="{FF2B5EF4-FFF2-40B4-BE49-F238E27FC236}">
                  <a16:creationId xmlns:a16="http://schemas.microsoft.com/office/drawing/2014/main" id="{67DE7ED1-1B08-4F80-9FC2-6F89A9EE9CBF}"/>
                </a:ext>
              </a:extLst>
            </p:cNvPr>
            <p:cNvSpPr/>
            <p:nvPr userDrawn="1"/>
          </p:nvSpPr>
          <p:spPr bwMode="auto">
            <a:xfrm>
              <a:off x="4522788" y="2686050"/>
              <a:ext cx="103188" cy="246063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rgbClr val="B57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3" name="íšḷiḑe">
              <a:extLst>
                <a:ext uri="{FF2B5EF4-FFF2-40B4-BE49-F238E27FC236}">
                  <a16:creationId xmlns:a16="http://schemas.microsoft.com/office/drawing/2014/main" id="{7CE1EB59-FDFC-4B41-A456-22EA5FCC9CF9}"/>
                </a:ext>
              </a:extLst>
            </p:cNvPr>
            <p:cNvSpPr/>
            <p:nvPr userDrawn="1"/>
          </p:nvSpPr>
          <p:spPr bwMode="auto">
            <a:xfrm>
              <a:off x="6607175" y="1352550"/>
              <a:ext cx="1404938" cy="1403350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4" name="îṩ1iḑé">
              <a:extLst>
                <a:ext uri="{FF2B5EF4-FFF2-40B4-BE49-F238E27FC236}">
                  <a16:creationId xmlns:a16="http://schemas.microsoft.com/office/drawing/2014/main" id="{693233A4-2E2D-4FEC-981E-F5A43CDC2A0D}"/>
                </a:ext>
              </a:extLst>
            </p:cNvPr>
            <p:cNvSpPr/>
            <p:nvPr userDrawn="1"/>
          </p:nvSpPr>
          <p:spPr bwMode="auto">
            <a:xfrm>
              <a:off x="8085138" y="1735138"/>
              <a:ext cx="619125" cy="61912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5" name="ïṧ1îďê">
              <a:extLst>
                <a:ext uri="{FF2B5EF4-FFF2-40B4-BE49-F238E27FC236}">
                  <a16:creationId xmlns:a16="http://schemas.microsoft.com/office/drawing/2014/main" id="{82077191-990F-46EB-AC7D-3BD85432FB73}"/>
                </a:ext>
              </a:extLst>
            </p:cNvPr>
            <p:cNvSpPr/>
            <p:nvPr userDrawn="1"/>
          </p:nvSpPr>
          <p:spPr bwMode="auto">
            <a:xfrm>
              <a:off x="5824538" y="974725"/>
              <a:ext cx="914400" cy="91122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6" name="íşlïďê">
              <a:extLst>
                <a:ext uri="{FF2B5EF4-FFF2-40B4-BE49-F238E27FC236}">
                  <a16:creationId xmlns:a16="http://schemas.microsoft.com/office/drawing/2014/main" id="{C238C2D4-A315-4A67-AF83-E608C0C4D71E}"/>
                </a:ext>
              </a:extLst>
            </p:cNvPr>
            <p:cNvSpPr/>
            <p:nvPr userDrawn="1"/>
          </p:nvSpPr>
          <p:spPr bwMode="auto">
            <a:xfrm>
              <a:off x="3660775" y="4157663"/>
              <a:ext cx="4867275" cy="125413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7" name="íśḷïdè">
              <a:extLst>
                <a:ext uri="{FF2B5EF4-FFF2-40B4-BE49-F238E27FC236}">
                  <a16:creationId xmlns:a16="http://schemas.microsoft.com/office/drawing/2014/main" id="{FB21D5AA-DD86-4396-9505-2B9F47F0C2CC}"/>
                </a:ext>
              </a:extLst>
            </p:cNvPr>
            <p:cNvSpPr/>
            <p:nvPr userDrawn="1"/>
          </p:nvSpPr>
          <p:spPr bwMode="auto">
            <a:xfrm>
              <a:off x="3663950" y="4246563"/>
              <a:ext cx="4859338" cy="36513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8" name="îṥlïḋê">
              <a:extLst>
                <a:ext uri="{FF2B5EF4-FFF2-40B4-BE49-F238E27FC236}">
                  <a16:creationId xmlns:a16="http://schemas.microsoft.com/office/drawing/2014/main" id="{881A9875-ABC3-430C-8E2C-3A83041D85FA}"/>
                </a:ext>
              </a:extLst>
            </p:cNvPr>
            <p:cNvSpPr/>
            <p:nvPr userDrawn="1"/>
          </p:nvSpPr>
          <p:spPr bwMode="auto">
            <a:xfrm>
              <a:off x="5121275" y="4090988"/>
              <a:ext cx="1758950" cy="66675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9" name="îṣľíḑê">
              <a:extLst>
                <a:ext uri="{FF2B5EF4-FFF2-40B4-BE49-F238E27FC236}">
                  <a16:creationId xmlns:a16="http://schemas.microsoft.com/office/drawing/2014/main" id="{034FC554-C133-4260-ABC8-1DCA170091B6}"/>
                </a:ext>
              </a:extLst>
            </p:cNvPr>
            <p:cNvSpPr/>
            <p:nvPr userDrawn="1"/>
          </p:nvSpPr>
          <p:spPr bwMode="auto">
            <a:xfrm>
              <a:off x="5300663" y="4090988"/>
              <a:ext cx="1758950" cy="66675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0" name="iṩ1idè">
              <a:extLst>
                <a:ext uri="{FF2B5EF4-FFF2-40B4-BE49-F238E27FC236}">
                  <a16:creationId xmlns:a16="http://schemas.microsoft.com/office/drawing/2014/main" id="{135256E0-6AD7-489D-B654-3212BD3B17C6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762125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172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1" name="ï$1iďè">
              <a:extLst>
                <a:ext uri="{FF2B5EF4-FFF2-40B4-BE49-F238E27FC236}">
                  <a16:creationId xmlns:a16="http://schemas.microsoft.com/office/drawing/2014/main" id="{F6AA95AF-CFE7-468E-B732-26B1BD4D19EE}"/>
                </a:ext>
              </a:extLst>
            </p:cNvPr>
            <p:cNvSpPr/>
            <p:nvPr userDrawn="1"/>
          </p:nvSpPr>
          <p:spPr bwMode="auto">
            <a:xfrm>
              <a:off x="6083300" y="2189163"/>
              <a:ext cx="36513" cy="123190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2" name="ïŝḻïḓè">
              <a:extLst>
                <a:ext uri="{FF2B5EF4-FFF2-40B4-BE49-F238E27FC236}">
                  <a16:creationId xmlns:a16="http://schemas.microsoft.com/office/drawing/2014/main" id="{34614279-AE0A-42EB-BD13-292D920E2637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84150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3" name="íṧľîḑe">
              <a:extLst>
                <a:ext uri="{FF2B5EF4-FFF2-40B4-BE49-F238E27FC236}">
                  <a16:creationId xmlns:a16="http://schemas.microsoft.com/office/drawing/2014/main" id="{298945AC-65AD-4286-BA45-E7C81CABBA4A}"/>
                </a:ext>
              </a:extLst>
            </p:cNvPr>
            <p:cNvSpPr/>
            <p:nvPr userDrawn="1"/>
          </p:nvSpPr>
          <p:spPr bwMode="auto">
            <a:xfrm>
              <a:off x="6323013" y="2828925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4" name="ísļídè">
              <a:extLst>
                <a:ext uri="{FF2B5EF4-FFF2-40B4-BE49-F238E27FC236}">
                  <a16:creationId xmlns:a16="http://schemas.microsoft.com/office/drawing/2014/main" id="{29689A9A-61E9-4824-81B3-A2A002BA92BD}"/>
                </a:ext>
              </a:extLst>
            </p:cNvPr>
            <p:cNvSpPr/>
            <p:nvPr userDrawn="1"/>
          </p:nvSpPr>
          <p:spPr bwMode="auto">
            <a:xfrm>
              <a:off x="6323013" y="2957513"/>
              <a:ext cx="485775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5" name="îSlíḑè">
              <a:extLst>
                <a:ext uri="{FF2B5EF4-FFF2-40B4-BE49-F238E27FC236}">
                  <a16:creationId xmlns:a16="http://schemas.microsoft.com/office/drawing/2014/main" id="{B0B64C9E-6C96-4267-87EC-BA99FC6A8F1A}"/>
                </a:ext>
              </a:extLst>
            </p:cNvPr>
            <p:cNvSpPr/>
            <p:nvPr userDrawn="1"/>
          </p:nvSpPr>
          <p:spPr bwMode="auto">
            <a:xfrm>
              <a:off x="68580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6" name="ïslíďê">
              <a:extLst>
                <a:ext uri="{FF2B5EF4-FFF2-40B4-BE49-F238E27FC236}">
                  <a16:creationId xmlns:a16="http://schemas.microsoft.com/office/drawing/2014/main" id="{595D0915-7554-4636-B827-D4D6168C24E9}"/>
                </a:ext>
              </a:extLst>
            </p:cNvPr>
            <p:cNvSpPr/>
            <p:nvPr userDrawn="1"/>
          </p:nvSpPr>
          <p:spPr bwMode="auto">
            <a:xfrm>
              <a:off x="63230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7" name="íṥļïďé">
              <a:extLst>
                <a:ext uri="{FF2B5EF4-FFF2-40B4-BE49-F238E27FC236}">
                  <a16:creationId xmlns:a16="http://schemas.microsoft.com/office/drawing/2014/main" id="{528FE62F-C06E-494D-890A-E500CB0FA152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8" name="ïṧḻiďê">
              <a:extLst>
                <a:ext uri="{FF2B5EF4-FFF2-40B4-BE49-F238E27FC236}">
                  <a16:creationId xmlns:a16="http://schemas.microsoft.com/office/drawing/2014/main" id="{8B84DC9C-E176-480B-8065-BCFEF8896A50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9" name="îṩḻiḓê">
              <a:extLst>
                <a:ext uri="{FF2B5EF4-FFF2-40B4-BE49-F238E27FC236}">
                  <a16:creationId xmlns:a16="http://schemas.microsoft.com/office/drawing/2014/main" id="{C0870957-D403-4800-B4B0-C7C51FF56F3D}"/>
                </a:ext>
              </a:extLst>
            </p:cNvPr>
            <p:cNvSpPr/>
            <p:nvPr userDrawn="1"/>
          </p:nvSpPr>
          <p:spPr bwMode="auto">
            <a:xfrm>
              <a:off x="6802438" y="2828925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0" name="îŝ1îḍê">
              <a:extLst>
                <a:ext uri="{FF2B5EF4-FFF2-40B4-BE49-F238E27FC236}">
                  <a16:creationId xmlns:a16="http://schemas.microsoft.com/office/drawing/2014/main" id="{7A1C70C2-D69C-44C8-B8DC-90B30B3FDED9}"/>
                </a:ext>
              </a:extLst>
            </p:cNvPr>
            <p:cNvSpPr/>
            <p:nvPr userDrawn="1"/>
          </p:nvSpPr>
          <p:spPr bwMode="auto">
            <a:xfrm>
              <a:off x="6323013" y="2220913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1" name="iṩ1îďé">
              <a:extLst>
                <a:ext uri="{FF2B5EF4-FFF2-40B4-BE49-F238E27FC236}">
                  <a16:creationId xmlns:a16="http://schemas.microsoft.com/office/drawing/2014/main" id="{5B66572D-DFEB-44A8-BCB9-6D2A59AFB190}"/>
                </a:ext>
              </a:extLst>
            </p:cNvPr>
            <p:cNvSpPr/>
            <p:nvPr userDrawn="1"/>
          </p:nvSpPr>
          <p:spPr bwMode="auto">
            <a:xfrm>
              <a:off x="6323013" y="2351088"/>
              <a:ext cx="485775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2" name="iSḻíḍe">
              <a:extLst>
                <a:ext uri="{FF2B5EF4-FFF2-40B4-BE49-F238E27FC236}">
                  <a16:creationId xmlns:a16="http://schemas.microsoft.com/office/drawing/2014/main" id="{D984DE33-B66B-4605-B722-BDA90EFA2831}"/>
                </a:ext>
              </a:extLst>
            </p:cNvPr>
            <p:cNvSpPr/>
            <p:nvPr userDrawn="1"/>
          </p:nvSpPr>
          <p:spPr bwMode="auto">
            <a:xfrm>
              <a:off x="68580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3" name="íṥ1iḍè">
              <a:extLst>
                <a:ext uri="{FF2B5EF4-FFF2-40B4-BE49-F238E27FC236}">
                  <a16:creationId xmlns:a16="http://schemas.microsoft.com/office/drawing/2014/main" id="{F0B0A692-2AA2-49A8-8776-54DE8F97BD1C}"/>
                </a:ext>
              </a:extLst>
            </p:cNvPr>
            <p:cNvSpPr/>
            <p:nvPr userDrawn="1"/>
          </p:nvSpPr>
          <p:spPr bwMode="auto">
            <a:xfrm>
              <a:off x="63230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4" name="íṡ1íḓe">
              <a:extLst>
                <a:ext uri="{FF2B5EF4-FFF2-40B4-BE49-F238E27FC236}">
                  <a16:creationId xmlns:a16="http://schemas.microsoft.com/office/drawing/2014/main" id="{BEFC73D3-5675-4EB0-B738-8D4610EC0F81}"/>
                </a:ext>
              </a:extLst>
            </p:cNvPr>
            <p:cNvSpPr/>
            <p:nvPr userDrawn="1"/>
          </p:nvSpPr>
          <p:spPr bwMode="auto">
            <a:xfrm>
              <a:off x="6580188" y="2479675"/>
              <a:ext cx="71596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5" name="íŝľíḑe">
              <a:extLst>
                <a:ext uri="{FF2B5EF4-FFF2-40B4-BE49-F238E27FC236}">
                  <a16:creationId xmlns:a16="http://schemas.microsoft.com/office/drawing/2014/main" id="{97EFC203-7A3E-48BB-A2FD-D90A595525E0}"/>
                </a:ext>
              </a:extLst>
            </p:cNvPr>
            <p:cNvSpPr/>
            <p:nvPr userDrawn="1"/>
          </p:nvSpPr>
          <p:spPr bwMode="auto">
            <a:xfrm>
              <a:off x="6802438" y="2220913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6" name="ïṥ1îḓè">
              <a:extLst>
                <a:ext uri="{FF2B5EF4-FFF2-40B4-BE49-F238E27FC236}">
                  <a16:creationId xmlns:a16="http://schemas.microsoft.com/office/drawing/2014/main" id="{6B048252-4BA1-459A-8E21-21E8ABB24328}"/>
                </a:ext>
              </a:extLst>
            </p:cNvPr>
            <p:cNvSpPr/>
            <p:nvPr userDrawn="1"/>
          </p:nvSpPr>
          <p:spPr bwMode="auto">
            <a:xfrm>
              <a:off x="5002213" y="2828925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7" name="íṡḷidê">
              <a:extLst>
                <a:ext uri="{FF2B5EF4-FFF2-40B4-BE49-F238E27FC236}">
                  <a16:creationId xmlns:a16="http://schemas.microsoft.com/office/drawing/2014/main" id="{03A25EA9-7DDA-4805-9FEC-F058B82DA08B}"/>
                </a:ext>
              </a:extLst>
            </p:cNvPr>
            <p:cNvSpPr/>
            <p:nvPr userDrawn="1"/>
          </p:nvSpPr>
          <p:spPr bwMode="auto">
            <a:xfrm>
              <a:off x="5002213" y="2957513"/>
              <a:ext cx="484188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8" name="ïSḻïḑe">
              <a:extLst>
                <a:ext uri="{FF2B5EF4-FFF2-40B4-BE49-F238E27FC236}">
                  <a16:creationId xmlns:a16="http://schemas.microsoft.com/office/drawing/2014/main" id="{D9AA68E9-86CB-48C9-B761-014F222EFC4A}"/>
                </a:ext>
              </a:extLst>
            </p:cNvPr>
            <p:cNvSpPr/>
            <p:nvPr userDrawn="1"/>
          </p:nvSpPr>
          <p:spPr bwMode="auto">
            <a:xfrm>
              <a:off x="55372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9" name="ïŝlîḋe">
              <a:extLst>
                <a:ext uri="{FF2B5EF4-FFF2-40B4-BE49-F238E27FC236}">
                  <a16:creationId xmlns:a16="http://schemas.microsoft.com/office/drawing/2014/main" id="{DF610359-D451-47FC-B413-07CEFB9F9C35}"/>
                </a:ext>
              </a:extLst>
            </p:cNvPr>
            <p:cNvSpPr/>
            <p:nvPr userDrawn="1"/>
          </p:nvSpPr>
          <p:spPr bwMode="auto">
            <a:xfrm>
              <a:off x="50022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0" name="ïṣḷidè">
              <a:extLst>
                <a:ext uri="{FF2B5EF4-FFF2-40B4-BE49-F238E27FC236}">
                  <a16:creationId xmlns:a16="http://schemas.microsoft.com/office/drawing/2014/main" id="{86EE2074-5A4B-4337-8775-5260608E4AE3}"/>
                </a:ext>
              </a:extLst>
            </p:cNvPr>
            <p:cNvSpPr/>
            <p:nvPr userDrawn="1"/>
          </p:nvSpPr>
          <p:spPr bwMode="auto">
            <a:xfrm>
              <a:off x="5260975" y="3086100"/>
              <a:ext cx="711200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1" name="íṧľîḓê">
              <a:extLst>
                <a:ext uri="{FF2B5EF4-FFF2-40B4-BE49-F238E27FC236}">
                  <a16:creationId xmlns:a16="http://schemas.microsoft.com/office/drawing/2014/main" id="{6EC69D07-7976-4CBC-A4D7-08893777C416}"/>
                </a:ext>
              </a:extLst>
            </p:cNvPr>
            <p:cNvSpPr/>
            <p:nvPr userDrawn="1"/>
          </p:nvSpPr>
          <p:spPr bwMode="auto">
            <a:xfrm>
              <a:off x="5481638" y="2828925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2" name="ïšḷîḓe">
              <a:extLst>
                <a:ext uri="{FF2B5EF4-FFF2-40B4-BE49-F238E27FC236}">
                  <a16:creationId xmlns:a16="http://schemas.microsoft.com/office/drawing/2014/main" id="{E2772D90-51F0-4204-B851-A02DEE86D856}"/>
                </a:ext>
              </a:extLst>
            </p:cNvPr>
            <p:cNvSpPr/>
            <p:nvPr userDrawn="1"/>
          </p:nvSpPr>
          <p:spPr bwMode="auto">
            <a:xfrm>
              <a:off x="5002213" y="2220913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3" name="îśliḍé">
              <a:extLst>
                <a:ext uri="{FF2B5EF4-FFF2-40B4-BE49-F238E27FC236}">
                  <a16:creationId xmlns:a16="http://schemas.microsoft.com/office/drawing/2014/main" id="{44D1F172-0703-47BB-83D1-B7A21C244CE8}"/>
                </a:ext>
              </a:extLst>
            </p:cNvPr>
            <p:cNvSpPr/>
            <p:nvPr userDrawn="1"/>
          </p:nvSpPr>
          <p:spPr bwMode="auto">
            <a:xfrm>
              <a:off x="5002213" y="2351088"/>
              <a:ext cx="484188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4" name="iṥ1iḍê">
              <a:extLst>
                <a:ext uri="{FF2B5EF4-FFF2-40B4-BE49-F238E27FC236}">
                  <a16:creationId xmlns:a16="http://schemas.microsoft.com/office/drawing/2014/main" id="{C1846154-6A09-41D4-A7EF-0CB356236893}"/>
                </a:ext>
              </a:extLst>
            </p:cNvPr>
            <p:cNvSpPr/>
            <p:nvPr userDrawn="1"/>
          </p:nvSpPr>
          <p:spPr bwMode="auto">
            <a:xfrm>
              <a:off x="55372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5" name="ïSlïḑe">
              <a:extLst>
                <a:ext uri="{FF2B5EF4-FFF2-40B4-BE49-F238E27FC236}">
                  <a16:creationId xmlns:a16="http://schemas.microsoft.com/office/drawing/2014/main" id="{9128667E-8000-48E0-BD9C-7C3A79C24791}"/>
                </a:ext>
              </a:extLst>
            </p:cNvPr>
            <p:cNvSpPr/>
            <p:nvPr userDrawn="1"/>
          </p:nvSpPr>
          <p:spPr bwMode="auto">
            <a:xfrm>
              <a:off x="50022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6" name="ïśľîďe">
              <a:extLst>
                <a:ext uri="{FF2B5EF4-FFF2-40B4-BE49-F238E27FC236}">
                  <a16:creationId xmlns:a16="http://schemas.microsoft.com/office/drawing/2014/main" id="{951096FD-1D28-4525-A0BE-386E83D0C537}"/>
                </a:ext>
              </a:extLst>
            </p:cNvPr>
            <p:cNvSpPr/>
            <p:nvPr userDrawn="1"/>
          </p:nvSpPr>
          <p:spPr bwMode="auto">
            <a:xfrm>
              <a:off x="5260975" y="2479675"/>
              <a:ext cx="711200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7" name="îṡľiďé">
              <a:extLst>
                <a:ext uri="{FF2B5EF4-FFF2-40B4-BE49-F238E27FC236}">
                  <a16:creationId xmlns:a16="http://schemas.microsoft.com/office/drawing/2014/main" id="{170BF2D8-5469-447F-AFAD-C77832D6C9D9}"/>
                </a:ext>
              </a:extLst>
            </p:cNvPr>
            <p:cNvSpPr/>
            <p:nvPr userDrawn="1"/>
          </p:nvSpPr>
          <p:spPr bwMode="auto">
            <a:xfrm>
              <a:off x="5481638" y="2220913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8" name="ís1iḋê">
              <a:extLst>
                <a:ext uri="{FF2B5EF4-FFF2-40B4-BE49-F238E27FC236}">
                  <a16:creationId xmlns:a16="http://schemas.microsoft.com/office/drawing/2014/main" id="{EA9A0FDE-4252-4FEC-9150-2157D1EEEDE9}"/>
                </a:ext>
              </a:extLst>
            </p:cNvPr>
            <p:cNvSpPr/>
            <p:nvPr userDrawn="1"/>
          </p:nvSpPr>
          <p:spPr bwMode="auto">
            <a:xfrm>
              <a:off x="4625975" y="1865313"/>
              <a:ext cx="2946400" cy="1879600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9" name="ïš1idè">
              <a:extLst>
                <a:ext uri="{FF2B5EF4-FFF2-40B4-BE49-F238E27FC236}">
                  <a16:creationId xmlns:a16="http://schemas.microsoft.com/office/drawing/2014/main" id="{218FF8F3-475B-49BC-BBE5-70957A769500}"/>
                </a:ext>
              </a:extLst>
            </p:cNvPr>
            <p:cNvSpPr/>
            <p:nvPr userDrawn="1"/>
          </p:nvSpPr>
          <p:spPr bwMode="auto">
            <a:xfrm>
              <a:off x="6919913" y="3152775"/>
              <a:ext cx="409575" cy="212725"/>
            </a:xfrm>
            <a:custGeom>
              <a:avLst/>
              <a:gdLst>
                <a:gd name="T0" fmla="*/ 2 w 111"/>
                <a:gd name="T1" fmla="*/ 37 h 58"/>
                <a:gd name="T2" fmla="*/ 2 w 111"/>
                <a:gd name="T3" fmla="*/ 41 h 58"/>
                <a:gd name="T4" fmla="*/ 0 w 111"/>
                <a:gd name="T5" fmla="*/ 58 h 58"/>
                <a:gd name="T6" fmla="*/ 24 w 111"/>
                <a:gd name="T7" fmla="*/ 58 h 58"/>
                <a:gd name="T8" fmla="*/ 2 w 111"/>
                <a:gd name="T9" fmla="*/ 37 h 58"/>
                <a:gd name="T10" fmla="*/ 69 w 111"/>
                <a:gd name="T11" fmla="*/ 0 h 58"/>
                <a:gd name="T12" fmla="*/ 41 w 111"/>
                <a:gd name="T13" fmla="*/ 0 h 58"/>
                <a:gd name="T14" fmla="*/ 39 w 111"/>
                <a:gd name="T15" fmla="*/ 1 h 58"/>
                <a:gd name="T16" fmla="*/ 36 w 111"/>
                <a:gd name="T17" fmla="*/ 2 h 58"/>
                <a:gd name="T18" fmla="*/ 77 w 111"/>
                <a:gd name="T19" fmla="*/ 40 h 58"/>
                <a:gd name="T20" fmla="*/ 73 w 111"/>
                <a:gd name="T21" fmla="*/ 58 h 58"/>
                <a:gd name="T22" fmla="*/ 110 w 111"/>
                <a:gd name="T23" fmla="*/ 58 h 58"/>
                <a:gd name="T24" fmla="*/ 92 w 111"/>
                <a:gd name="T25" fmla="*/ 13 h 58"/>
                <a:gd name="T26" fmla="*/ 92 w 111"/>
                <a:gd name="T27" fmla="*/ 13 h 58"/>
                <a:gd name="T28" fmla="*/ 69 w 111"/>
                <a:gd name="T2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58">
                  <a:moveTo>
                    <a:pt x="2" y="37"/>
                  </a:moveTo>
                  <a:cubicBezTo>
                    <a:pt x="2" y="41"/>
                    <a:pt x="2" y="41"/>
                    <a:pt x="2" y="41"/>
                  </a:cubicBezTo>
                  <a:cubicBezTo>
                    <a:pt x="0" y="46"/>
                    <a:pt x="0" y="52"/>
                    <a:pt x="0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" y="37"/>
                    <a:pt x="2" y="37"/>
                    <a:pt x="2" y="37"/>
                  </a:cubicBezTo>
                  <a:moveTo>
                    <a:pt x="69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39" y="0"/>
                    <a:pt x="39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1" y="41"/>
                    <a:pt x="105" y="24"/>
                    <a:pt x="92" y="13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86" y="7"/>
                    <a:pt x="78" y="2"/>
                    <a:pt x="69" y="0"/>
                  </a:cubicBezTo>
                </a:path>
              </a:pathLst>
            </a:custGeom>
            <a:solidFill>
              <a:srgbClr val="1327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0" name="iSľíḑé">
              <a:extLst>
                <a:ext uri="{FF2B5EF4-FFF2-40B4-BE49-F238E27FC236}">
                  <a16:creationId xmlns:a16="http://schemas.microsoft.com/office/drawing/2014/main" id="{6DBF8FCE-4C76-4049-971D-EADCFACCF652}"/>
                </a:ext>
              </a:extLst>
            </p:cNvPr>
            <p:cNvSpPr/>
            <p:nvPr userDrawn="1"/>
          </p:nvSpPr>
          <p:spPr bwMode="auto">
            <a:xfrm>
              <a:off x="7070725" y="3144838"/>
              <a:ext cx="103188" cy="7938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1" name="îslîďè">
              <a:extLst>
                <a:ext uri="{FF2B5EF4-FFF2-40B4-BE49-F238E27FC236}">
                  <a16:creationId xmlns:a16="http://schemas.microsoft.com/office/drawing/2014/main" id="{B83FFC27-5F09-4196-80BF-7A724DEBA8DE}"/>
                </a:ext>
              </a:extLst>
            </p:cNvPr>
            <p:cNvSpPr/>
            <p:nvPr userDrawn="1"/>
          </p:nvSpPr>
          <p:spPr bwMode="auto">
            <a:xfrm>
              <a:off x="6919913" y="3365500"/>
              <a:ext cx="630238" cy="373063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2" name="îSľiḑe">
              <a:extLst>
                <a:ext uri="{FF2B5EF4-FFF2-40B4-BE49-F238E27FC236}">
                  <a16:creationId xmlns:a16="http://schemas.microsoft.com/office/drawing/2014/main" id="{8107D903-1D25-48EF-8568-1D05CA595CBE}"/>
                </a:ext>
              </a:extLst>
            </p:cNvPr>
            <p:cNvSpPr/>
            <p:nvPr userDrawn="1"/>
          </p:nvSpPr>
          <p:spPr bwMode="auto">
            <a:xfrm>
              <a:off x="4748213" y="1952625"/>
              <a:ext cx="2706688" cy="111125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3" name="íSļíḓè">
              <a:extLst>
                <a:ext uri="{FF2B5EF4-FFF2-40B4-BE49-F238E27FC236}">
                  <a16:creationId xmlns:a16="http://schemas.microsoft.com/office/drawing/2014/main" id="{07D4F4CD-7559-4DD8-9AA1-FC0E49095616}"/>
                </a:ext>
              </a:extLst>
            </p:cNvPr>
            <p:cNvSpPr/>
            <p:nvPr userDrawn="1"/>
          </p:nvSpPr>
          <p:spPr bwMode="auto">
            <a:xfrm>
              <a:off x="4625975" y="3521075"/>
              <a:ext cx="2946400" cy="223838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4" name="ïṧḻídé">
              <a:extLst>
                <a:ext uri="{FF2B5EF4-FFF2-40B4-BE49-F238E27FC236}">
                  <a16:creationId xmlns:a16="http://schemas.microsoft.com/office/drawing/2014/main" id="{6B3E522A-87EC-47CB-B706-8551808E4479}"/>
                </a:ext>
              </a:extLst>
            </p:cNvPr>
            <p:cNvSpPr/>
            <p:nvPr userDrawn="1"/>
          </p:nvSpPr>
          <p:spPr bwMode="auto">
            <a:xfrm>
              <a:off x="7265988" y="2019300"/>
              <a:ext cx="60325" cy="58738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5" name="iṧlïḋê">
              <a:extLst>
                <a:ext uri="{FF2B5EF4-FFF2-40B4-BE49-F238E27FC236}">
                  <a16:creationId xmlns:a16="http://schemas.microsoft.com/office/drawing/2014/main" id="{FD7F2B50-0576-4B48-BD67-409BDF61A3B4}"/>
                </a:ext>
              </a:extLst>
            </p:cNvPr>
            <p:cNvSpPr/>
            <p:nvPr userDrawn="1"/>
          </p:nvSpPr>
          <p:spPr bwMode="auto">
            <a:xfrm>
              <a:off x="7162800" y="2019300"/>
              <a:ext cx="60325" cy="58738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6" name="ïSḷîḍê">
              <a:extLst>
                <a:ext uri="{FF2B5EF4-FFF2-40B4-BE49-F238E27FC236}">
                  <a16:creationId xmlns:a16="http://schemas.microsoft.com/office/drawing/2014/main" id="{0A250E1E-80BB-4887-BF8C-BCF42B27425D}"/>
                </a:ext>
              </a:extLst>
            </p:cNvPr>
            <p:cNvSpPr/>
            <p:nvPr userDrawn="1"/>
          </p:nvSpPr>
          <p:spPr bwMode="auto">
            <a:xfrm>
              <a:off x="7059613" y="2019300"/>
              <a:ext cx="60325" cy="58738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7" name="íşlîḍe">
              <a:extLst>
                <a:ext uri="{FF2B5EF4-FFF2-40B4-BE49-F238E27FC236}">
                  <a16:creationId xmlns:a16="http://schemas.microsoft.com/office/drawing/2014/main" id="{BF9DF52F-9D83-4851-96C1-B1756C6635CA}"/>
                </a:ext>
              </a:extLst>
            </p:cNvPr>
            <p:cNvSpPr/>
            <p:nvPr userDrawn="1"/>
          </p:nvSpPr>
          <p:spPr bwMode="auto">
            <a:xfrm>
              <a:off x="4438650" y="2619375"/>
              <a:ext cx="741363" cy="1538288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8" name="îṧliḓe">
              <a:extLst>
                <a:ext uri="{FF2B5EF4-FFF2-40B4-BE49-F238E27FC236}">
                  <a16:creationId xmlns:a16="http://schemas.microsoft.com/office/drawing/2014/main" id="{9DE8548E-3E05-4B67-927D-31DC785333E5}"/>
                </a:ext>
              </a:extLst>
            </p:cNvPr>
            <p:cNvSpPr/>
            <p:nvPr userDrawn="1"/>
          </p:nvSpPr>
          <p:spPr bwMode="auto">
            <a:xfrm>
              <a:off x="4545013" y="2887663"/>
              <a:ext cx="457200" cy="95250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9" name="ïšľïḍê">
              <a:extLst>
                <a:ext uri="{FF2B5EF4-FFF2-40B4-BE49-F238E27FC236}">
                  <a16:creationId xmlns:a16="http://schemas.microsoft.com/office/drawing/2014/main" id="{9DDB46BA-311A-4A6B-957B-4EC8F71B0C47}"/>
                </a:ext>
              </a:extLst>
            </p:cNvPr>
            <p:cNvSpPr/>
            <p:nvPr userDrawn="1"/>
          </p:nvSpPr>
          <p:spPr bwMode="auto">
            <a:xfrm>
              <a:off x="4419600" y="3225800"/>
              <a:ext cx="454025" cy="96838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0" name="ïṡ1îḍe">
              <a:extLst>
                <a:ext uri="{FF2B5EF4-FFF2-40B4-BE49-F238E27FC236}">
                  <a16:creationId xmlns:a16="http://schemas.microsoft.com/office/drawing/2014/main" id="{2B840719-EFA3-4C12-8F06-BF63030F9294}"/>
                </a:ext>
              </a:extLst>
            </p:cNvPr>
            <p:cNvSpPr/>
            <p:nvPr userDrawn="1"/>
          </p:nvSpPr>
          <p:spPr bwMode="auto">
            <a:xfrm>
              <a:off x="4271963" y="3565525"/>
              <a:ext cx="465138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1" name="iṧḷídè">
              <a:extLst>
                <a:ext uri="{FF2B5EF4-FFF2-40B4-BE49-F238E27FC236}">
                  <a16:creationId xmlns:a16="http://schemas.microsoft.com/office/drawing/2014/main" id="{B11A465F-18FD-41B1-BBE5-D466DE4FBADA}"/>
                </a:ext>
              </a:extLst>
            </p:cNvPr>
            <p:cNvSpPr/>
            <p:nvPr userDrawn="1"/>
          </p:nvSpPr>
          <p:spPr bwMode="auto">
            <a:xfrm>
              <a:off x="4137025" y="3903663"/>
              <a:ext cx="449263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2" name="íṥļïďê">
              <a:extLst>
                <a:ext uri="{FF2B5EF4-FFF2-40B4-BE49-F238E27FC236}">
                  <a16:creationId xmlns:a16="http://schemas.microsoft.com/office/drawing/2014/main" id="{A5D40688-4178-488D-A401-C63E9F9901D1}"/>
                </a:ext>
              </a:extLst>
            </p:cNvPr>
            <p:cNvSpPr/>
            <p:nvPr userDrawn="1"/>
          </p:nvSpPr>
          <p:spPr bwMode="auto">
            <a:xfrm>
              <a:off x="6978650" y="2998788"/>
              <a:ext cx="919163" cy="116998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3" name="iṡlîḑe">
              <a:extLst>
                <a:ext uri="{FF2B5EF4-FFF2-40B4-BE49-F238E27FC236}">
                  <a16:creationId xmlns:a16="http://schemas.microsoft.com/office/drawing/2014/main" id="{2CF9FD8F-7AB9-4413-BA6D-0AEC3AAA703B}"/>
                </a:ext>
              </a:extLst>
            </p:cNvPr>
            <p:cNvSpPr/>
            <p:nvPr userDrawn="1"/>
          </p:nvSpPr>
          <p:spPr bwMode="auto">
            <a:xfrm>
              <a:off x="7304088" y="3384550"/>
              <a:ext cx="515938" cy="69215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5" name="îşļïďê">
              <a:extLst>
                <a:ext uri="{FF2B5EF4-FFF2-40B4-BE49-F238E27FC236}">
                  <a16:creationId xmlns:a16="http://schemas.microsoft.com/office/drawing/2014/main" id="{0A260C92-F3B0-4023-85C8-AE243717C868}"/>
                </a:ext>
              </a:extLst>
            </p:cNvPr>
            <p:cNvSpPr/>
            <p:nvPr userDrawn="1"/>
          </p:nvSpPr>
          <p:spPr bwMode="auto">
            <a:xfrm>
              <a:off x="5035550" y="5718175"/>
              <a:ext cx="2116138" cy="165100"/>
            </a:xfrm>
            <a:custGeom>
              <a:avLst/>
              <a:gdLst>
                <a:gd name="T0" fmla="*/ 552 w 574"/>
                <a:gd name="T1" fmla="*/ 45 h 45"/>
                <a:gd name="T2" fmla="*/ 22 w 574"/>
                <a:gd name="T3" fmla="*/ 45 h 45"/>
                <a:gd name="T4" fmla="*/ 0 w 574"/>
                <a:gd name="T5" fmla="*/ 22 h 45"/>
                <a:gd name="T6" fmla="*/ 22 w 574"/>
                <a:gd name="T7" fmla="*/ 0 h 45"/>
                <a:gd name="T8" fmla="*/ 552 w 574"/>
                <a:gd name="T9" fmla="*/ 0 h 45"/>
                <a:gd name="T10" fmla="*/ 574 w 574"/>
                <a:gd name="T11" fmla="*/ 22 h 45"/>
                <a:gd name="T12" fmla="*/ 552 w 574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4" h="45">
                  <a:moveTo>
                    <a:pt x="552" y="45"/>
                  </a:moveTo>
                  <a:cubicBezTo>
                    <a:pt x="22" y="45"/>
                    <a:pt x="22" y="45"/>
                    <a:pt x="22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552" y="0"/>
                    <a:pt x="552" y="0"/>
                    <a:pt x="552" y="0"/>
                  </a:cubicBezTo>
                  <a:cubicBezTo>
                    <a:pt x="564" y="0"/>
                    <a:pt x="574" y="10"/>
                    <a:pt x="574" y="22"/>
                  </a:cubicBezTo>
                  <a:cubicBezTo>
                    <a:pt x="574" y="35"/>
                    <a:pt x="564" y="45"/>
                    <a:pt x="552" y="45"/>
                  </a:cubicBezTo>
                  <a:close/>
                </a:path>
              </a:pathLst>
            </a:cu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6" name="îšļiḍé">
              <a:extLst>
                <a:ext uri="{FF2B5EF4-FFF2-40B4-BE49-F238E27FC236}">
                  <a16:creationId xmlns:a16="http://schemas.microsoft.com/office/drawing/2014/main" id="{8C93FE08-C1DB-4C63-A6F7-045825FBC507}"/>
                </a:ext>
              </a:extLst>
            </p:cNvPr>
            <p:cNvSpPr/>
            <p:nvPr userDrawn="1"/>
          </p:nvSpPr>
          <p:spPr bwMode="auto">
            <a:xfrm>
              <a:off x="6083300" y="4378325"/>
              <a:ext cx="755650" cy="1222375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7" name="í$ḷïḑe">
              <a:extLst>
                <a:ext uri="{FF2B5EF4-FFF2-40B4-BE49-F238E27FC236}">
                  <a16:creationId xmlns:a16="http://schemas.microsoft.com/office/drawing/2014/main" id="{268228F1-6F0B-4E91-AE44-C2016832ECA0}"/>
                </a:ext>
              </a:extLst>
            </p:cNvPr>
            <p:cNvSpPr/>
            <p:nvPr userDrawn="1"/>
          </p:nvSpPr>
          <p:spPr bwMode="auto">
            <a:xfrm>
              <a:off x="6334125" y="5600700"/>
              <a:ext cx="474663" cy="184150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8" name="ís1îḓe">
              <a:extLst>
                <a:ext uri="{FF2B5EF4-FFF2-40B4-BE49-F238E27FC236}">
                  <a16:creationId xmlns:a16="http://schemas.microsoft.com/office/drawing/2014/main" id="{1397C844-D6C2-4182-B960-D55C92040818}"/>
                </a:ext>
              </a:extLst>
            </p:cNvPr>
            <p:cNvSpPr/>
            <p:nvPr userDrawn="1"/>
          </p:nvSpPr>
          <p:spPr bwMode="auto">
            <a:xfrm>
              <a:off x="5353050" y="4378325"/>
              <a:ext cx="755650" cy="1222375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9" name="îsḷïdè">
              <a:extLst>
                <a:ext uri="{FF2B5EF4-FFF2-40B4-BE49-F238E27FC236}">
                  <a16:creationId xmlns:a16="http://schemas.microsoft.com/office/drawing/2014/main" id="{C1840427-BBE8-46E9-9A0F-1A164B34FF92}"/>
                </a:ext>
              </a:extLst>
            </p:cNvPr>
            <p:cNvSpPr/>
            <p:nvPr userDrawn="1"/>
          </p:nvSpPr>
          <p:spPr bwMode="auto">
            <a:xfrm>
              <a:off x="6083300" y="4651375"/>
              <a:ext cx="611188" cy="949325"/>
            </a:xfrm>
            <a:custGeom>
              <a:avLst/>
              <a:gdLst>
                <a:gd name="T0" fmla="*/ 112 w 166"/>
                <a:gd name="T1" fmla="*/ 258 h 258"/>
                <a:gd name="T2" fmla="*/ 113 w 166"/>
                <a:gd name="T3" fmla="*/ 255 h 258"/>
                <a:gd name="T4" fmla="*/ 137 w 166"/>
                <a:gd name="T5" fmla="*/ 130 h 258"/>
                <a:gd name="T6" fmla="*/ 160 w 166"/>
                <a:gd name="T7" fmla="*/ 37 h 258"/>
                <a:gd name="T8" fmla="*/ 164 w 166"/>
                <a:gd name="T9" fmla="*/ 18 h 258"/>
                <a:gd name="T10" fmla="*/ 164 w 166"/>
                <a:gd name="T11" fmla="*/ 12 h 258"/>
                <a:gd name="T12" fmla="*/ 165 w 166"/>
                <a:gd name="T13" fmla="*/ 2 h 258"/>
                <a:gd name="T14" fmla="*/ 166 w 166"/>
                <a:gd name="T15" fmla="*/ 0 h 258"/>
                <a:gd name="T16" fmla="*/ 0 w 166"/>
                <a:gd name="T17" fmla="*/ 0 h 258"/>
                <a:gd name="T18" fmla="*/ 0 w 166"/>
                <a:gd name="T19" fmla="*/ 28 h 258"/>
                <a:gd name="T20" fmla="*/ 104 w 166"/>
                <a:gd name="T21" fmla="*/ 28 h 258"/>
                <a:gd name="T22" fmla="*/ 68 w 166"/>
                <a:gd name="T23" fmla="*/ 258 h 258"/>
                <a:gd name="T24" fmla="*/ 112 w 166"/>
                <a:gd name="T25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258">
                  <a:moveTo>
                    <a:pt x="112" y="258"/>
                  </a:moveTo>
                  <a:cubicBezTo>
                    <a:pt x="112" y="257"/>
                    <a:pt x="112" y="256"/>
                    <a:pt x="113" y="255"/>
                  </a:cubicBezTo>
                  <a:cubicBezTo>
                    <a:pt x="121" y="227"/>
                    <a:pt x="129" y="159"/>
                    <a:pt x="137" y="130"/>
                  </a:cubicBezTo>
                  <a:cubicBezTo>
                    <a:pt x="146" y="99"/>
                    <a:pt x="154" y="69"/>
                    <a:pt x="160" y="37"/>
                  </a:cubicBezTo>
                  <a:cubicBezTo>
                    <a:pt x="161" y="31"/>
                    <a:pt x="162" y="24"/>
                    <a:pt x="164" y="18"/>
                  </a:cubicBezTo>
                  <a:cubicBezTo>
                    <a:pt x="164" y="15"/>
                    <a:pt x="164" y="13"/>
                    <a:pt x="164" y="12"/>
                  </a:cubicBezTo>
                  <a:cubicBezTo>
                    <a:pt x="165" y="9"/>
                    <a:pt x="165" y="5"/>
                    <a:pt x="165" y="2"/>
                  </a:cubicBezTo>
                  <a:cubicBezTo>
                    <a:pt x="166" y="1"/>
                    <a:pt x="166" y="1"/>
                    <a:pt x="1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68" y="258"/>
                    <a:pt x="68" y="258"/>
                    <a:pt x="68" y="258"/>
                  </a:cubicBezTo>
                  <a:cubicBezTo>
                    <a:pt x="112" y="258"/>
                    <a:pt x="112" y="258"/>
                    <a:pt x="112" y="258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0" name="işḷíďe">
              <a:extLst>
                <a:ext uri="{FF2B5EF4-FFF2-40B4-BE49-F238E27FC236}">
                  <a16:creationId xmlns:a16="http://schemas.microsoft.com/office/drawing/2014/main" id="{DF7F48BD-91E0-490D-B049-E7838B62C56D}"/>
                </a:ext>
              </a:extLst>
            </p:cNvPr>
            <p:cNvSpPr/>
            <p:nvPr userDrawn="1"/>
          </p:nvSpPr>
          <p:spPr bwMode="auto">
            <a:xfrm>
              <a:off x="5518150" y="4651375"/>
              <a:ext cx="590550" cy="949325"/>
            </a:xfrm>
            <a:custGeom>
              <a:avLst/>
              <a:gdLst>
                <a:gd name="T0" fmla="*/ 160 w 160"/>
                <a:gd name="T1" fmla="*/ 0 h 258"/>
                <a:gd name="T2" fmla="*/ 0 w 160"/>
                <a:gd name="T3" fmla="*/ 0 h 258"/>
                <a:gd name="T4" fmla="*/ 2 w 160"/>
                <a:gd name="T5" fmla="*/ 9 h 258"/>
                <a:gd name="T6" fmla="*/ 28 w 160"/>
                <a:gd name="T7" fmla="*/ 91 h 258"/>
                <a:gd name="T8" fmla="*/ 52 w 160"/>
                <a:gd name="T9" fmla="*/ 171 h 258"/>
                <a:gd name="T10" fmla="*/ 63 w 160"/>
                <a:gd name="T11" fmla="*/ 258 h 258"/>
                <a:gd name="T12" fmla="*/ 91 w 160"/>
                <a:gd name="T13" fmla="*/ 258 h 258"/>
                <a:gd name="T14" fmla="*/ 55 w 160"/>
                <a:gd name="T15" fmla="*/ 28 h 258"/>
                <a:gd name="T16" fmla="*/ 160 w 160"/>
                <a:gd name="T17" fmla="*/ 28 h 258"/>
                <a:gd name="T18" fmla="*/ 160 w 160"/>
                <a:gd name="T19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258">
                  <a:moveTo>
                    <a:pt x="1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2" y="9"/>
                  </a:cubicBezTo>
                  <a:cubicBezTo>
                    <a:pt x="9" y="37"/>
                    <a:pt x="19" y="64"/>
                    <a:pt x="28" y="91"/>
                  </a:cubicBezTo>
                  <a:cubicBezTo>
                    <a:pt x="36" y="117"/>
                    <a:pt x="46" y="144"/>
                    <a:pt x="52" y="171"/>
                  </a:cubicBezTo>
                  <a:cubicBezTo>
                    <a:pt x="56" y="186"/>
                    <a:pt x="59" y="242"/>
                    <a:pt x="63" y="258"/>
                  </a:cubicBezTo>
                  <a:cubicBezTo>
                    <a:pt x="91" y="258"/>
                    <a:pt x="91" y="258"/>
                    <a:pt x="91" y="25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0"/>
                    <a:pt x="160" y="0"/>
                    <a:pt x="160" y="0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1" name="ïṥļîdê">
              <a:extLst>
                <a:ext uri="{FF2B5EF4-FFF2-40B4-BE49-F238E27FC236}">
                  <a16:creationId xmlns:a16="http://schemas.microsoft.com/office/drawing/2014/main" id="{135D0D4C-D18D-4EA1-8E4B-F3F3E061127A}"/>
                </a:ext>
              </a:extLst>
            </p:cNvPr>
            <p:cNvSpPr/>
            <p:nvPr userDrawn="1"/>
          </p:nvSpPr>
          <p:spPr bwMode="auto">
            <a:xfrm>
              <a:off x="5634038" y="2728913"/>
              <a:ext cx="190500" cy="28416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2" name="isḻîḋè">
              <a:extLst>
                <a:ext uri="{FF2B5EF4-FFF2-40B4-BE49-F238E27FC236}">
                  <a16:creationId xmlns:a16="http://schemas.microsoft.com/office/drawing/2014/main" id="{711F711D-E110-421D-933F-4C10A1A62617}"/>
                </a:ext>
              </a:extLst>
            </p:cNvPr>
            <p:cNvSpPr/>
            <p:nvPr userDrawn="1"/>
          </p:nvSpPr>
          <p:spPr bwMode="auto">
            <a:xfrm>
              <a:off x="5676900" y="2798763"/>
              <a:ext cx="147638" cy="177800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3" name="íṥľïḓê">
              <a:extLst>
                <a:ext uri="{FF2B5EF4-FFF2-40B4-BE49-F238E27FC236}">
                  <a16:creationId xmlns:a16="http://schemas.microsoft.com/office/drawing/2014/main" id="{7070EA34-2784-4362-8DF0-EA6726DC0BD9}"/>
                </a:ext>
              </a:extLst>
            </p:cNvPr>
            <p:cNvSpPr/>
            <p:nvPr userDrawn="1"/>
          </p:nvSpPr>
          <p:spPr bwMode="auto">
            <a:xfrm>
              <a:off x="5707063" y="2803525"/>
              <a:ext cx="117475" cy="8096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4" name="íş1íḋê">
              <a:extLst>
                <a:ext uri="{FF2B5EF4-FFF2-40B4-BE49-F238E27FC236}">
                  <a16:creationId xmlns:a16="http://schemas.microsoft.com/office/drawing/2014/main" id="{491A23F2-4EB6-4B83-9630-37BEFCB7E628}"/>
                </a:ext>
              </a:extLst>
            </p:cNvPr>
            <p:cNvSpPr/>
            <p:nvPr userDrawn="1"/>
          </p:nvSpPr>
          <p:spPr bwMode="auto">
            <a:xfrm>
              <a:off x="6418263" y="2795588"/>
              <a:ext cx="214313" cy="287338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5" name="íṧḷíďè">
              <a:extLst>
                <a:ext uri="{FF2B5EF4-FFF2-40B4-BE49-F238E27FC236}">
                  <a16:creationId xmlns:a16="http://schemas.microsoft.com/office/drawing/2014/main" id="{322F4DD9-730D-4544-A7DE-3350831769B1}"/>
                </a:ext>
              </a:extLst>
            </p:cNvPr>
            <p:cNvSpPr/>
            <p:nvPr userDrawn="1"/>
          </p:nvSpPr>
          <p:spPr bwMode="auto">
            <a:xfrm>
              <a:off x="6418263" y="2865438"/>
              <a:ext cx="173038" cy="176213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6" name="ïşlíďe">
              <a:extLst>
                <a:ext uri="{FF2B5EF4-FFF2-40B4-BE49-F238E27FC236}">
                  <a16:creationId xmlns:a16="http://schemas.microsoft.com/office/drawing/2014/main" id="{1DB26175-BBC7-4751-8986-01AC218C0414}"/>
                </a:ext>
              </a:extLst>
            </p:cNvPr>
            <p:cNvSpPr/>
            <p:nvPr userDrawn="1"/>
          </p:nvSpPr>
          <p:spPr bwMode="auto">
            <a:xfrm>
              <a:off x="6434138" y="2873375"/>
              <a:ext cx="123825" cy="61913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7" name="íṧ1iḍé">
              <a:extLst>
                <a:ext uri="{FF2B5EF4-FFF2-40B4-BE49-F238E27FC236}">
                  <a16:creationId xmlns:a16="http://schemas.microsoft.com/office/drawing/2014/main" id="{39926ECE-6B6B-4858-B85D-CBDFEBE5E3E2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8" name="íSḷíḍé">
              <a:extLst>
                <a:ext uri="{FF2B5EF4-FFF2-40B4-BE49-F238E27FC236}">
                  <a16:creationId xmlns:a16="http://schemas.microsoft.com/office/drawing/2014/main" id="{543C7DE3-45FE-4694-A597-44516AF0D109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9" name="ï$lïďê">
              <a:extLst>
                <a:ext uri="{FF2B5EF4-FFF2-40B4-BE49-F238E27FC236}">
                  <a16:creationId xmlns:a16="http://schemas.microsoft.com/office/drawing/2014/main" id="{56903C60-43D1-41B4-A06B-5D4321B26180}"/>
                </a:ext>
              </a:extLst>
            </p:cNvPr>
            <p:cNvSpPr/>
            <p:nvPr userDrawn="1"/>
          </p:nvSpPr>
          <p:spPr bwMode="auto">
            <a:xfrm>
              <a:off x="6024563" y="3155950"/>
              <a:ext cx="176213" cy="88900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0" name="iṩlïḍe">
              <a:extLst>
                <a:ext uri="{FF2B5EF4-FFF2-40B4-BE49-F238E27FC236}">
                  <a16:creationId xmlns:a16="http://schemas.microsoft.com/office/drawing/2014/main" id="{58D298C8-779C-40AB-AEB2-79554B903AA5}"/>
                </a:ext>
              </a:extLst>
            </p:cNvPr>
            <p:cNvSpPr/>
            <p:nvPr userDrawn="1"/>
          </p:nvSpPr>
          <p:spPr bwMode="auto">
            <a:xfrm>
              <a:off x="5780088" y="2468563"/>
              <a:ext cx="723900" cy="784225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1" name="iš1íḓè">
              <a:extLst>
                <a:ext uri="{FF2B5EF4-FFF2-40B4-BE49-F238E27FC236}">
                  <a16:creationId xmlns:a16="http://schemas.microsoft.com/office/drawing/2014/main" id="{54D6F5CC-D071-4394-BC18-281B7DFF3181}"/>
                </a:ext>
              </a:extLst>
            </p:cNvPr>
            <p:cNvSpPr/>
            <p:nvPr userDrawn="1"/>
          </p:nvSpPr>
          <p:spPr bwMode="auto">
            <a:xfrm>
              <a:off x="5780088" y="2644775"/>
              <a:ext cx="4763" cy="103188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2" name="işļíḍê">
              <a:extLst>
                <a:ext uri="{FF2B5EF4-FFF2-40B4-BE49-F238E27FC236}">
                  <a16:creationId xmlns:a16="http://schemas.microsoft.com/office/drawing/2014/main" id="{3218969E-AA7B-40DC-8260-8CE831764568}"/>
                </a:ext>
              </a:extLst>
            </p:cNvPr>
            <p:cNvSpPr/>
            <p:nvPr userDrawn="1"/>
          </p:nvSpPr>
          <p:spPr bwMode="auto">
            <a:xfrm>
              <a:off x="5570538" y="2301875"/>
              <a:ext cx="1014413" cy="971550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3" name="ïṡļíḋe">
              <a:extLst>
                <a:ext uri="{FF2B5EF4-FFF2-40B4-BE49-F238E27FC236}">
                  <a16:creationId xmlns:a16="http://schemas.microsoft.com/office/drawing/2014/main" id="{C315C162-743C-4C8A-A730-B6F554292C8F}"/>
                </a:ext>
              </a:extLst>
            </p:cNvPr>
            <p:cNvSpPr/>
            <p:nvPr userDrawn="1"/>
          </p:nvSpPr>
          <p:spPr bwMode="auto">
            <a:xfrm>
              <a:off x="5676900" y="2189163"/>
              <a:ext cx="860425" cy="717550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4" name="işľiḍê">
              <a:extLst>
                <a:ext uri="{FF2B5EF4-FFF2-40B4-BE49-F238E27FC236}">
                  <a16:creationId xmlns:a16="http://schemas.microsoft.com/office/drawing/2014/main" id="{681D4D48-80AB-4D9A-81C9-D092F448528A}"/>
                </a:ext>
              </a:extLst>
            </p:cNvPr>
            <p:cNvSpPr/>
            <p:nvPr userDrawn="1"/>
          </p:nvSpPr>
          <p:spPr bwMode="auto">
            <a:xfrm>
              <a:off x="5411788" y="3370263"/>
              <a:ext cx="1390650" cy="784225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5" name="işḻíḍé">
              <a:extLst>
                <a:ext uri="{FF2B5EF4-FFF2-40B4-BE49-F238E27FC236}">
                  <a16:creationId xmlns:a16="http://schemas.microsoft.com/office/drawing/2014/main" id="{1ADB9D3C-96A2-46FB-A786-A013523138CA}"/>
                </a:ext>
              </a:extLst>
            </p:cNvPr>
            <p:cNvSpPr/>
            <p:nvPr userDrawn="1"/>
          </p:nvSpPr>
          <p:spPr bwMode="auto">
            <a:xfrm>
              <a:off x="5611813" y="3451225"/>
              <a:ext cx="1001713" cy="1181100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6" name="ïṣľïḓè">
              <a:extLst>
                <a:ext uri="{FF2B5EF4-FFF2-40B4-BE49-F238E27FC236}">
                  <a16:creationId xmlns:a16="http://schemas.microsoft.com/office/drawing/2014/main" id="{20762A78-0255-406C-BC46-61DC0D1674CB}"/>
                </a:ext>
              </a:extLst>
            </p:cNvPr>
            <p:cNvSpPr/>
            <p:nvPr userDrawn="1"/>
          </p:nvSpPr>
          <p:spPr bwMode="auto">
            <a:xfrm>
              <a:off x="5659438" y="3451225"/>
              <a:ext cx="906463" cy="1111250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7" name="îšlídè">
              <a:extLst>
                <a:ext uri="{FF2B5EF4-FFF2-40B4-BE49-F238E27FC236}">
                  <a16:creationId xmlns:a16="http://schemas.microsoft.com/office/drawing/2014/main" id="{26DA3A76-D916-4ACF-BB4B-09703FA851A3}"/>
                </a:ext>
              </a:extLst>
            </p:cNvPr>
            <p:cNvSpPr/>
            <p:nvPr userDrawn="1"/>
          </p:nvSpPr>
          <p:spPr bwMode="auto">
            <a:xfrm>
              <a:off x="5643563" y="2725738"/>
              <a:ext cx="908050" cy="588963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8" name="ïṩḷídé">
              <a:extLst>
                <a:ext uri="{FF2B5EF4-FFF2-40B4-BE49-F238E27FC236}">
                  <a16:creationId xmlns:a16="http://schemas.microsoft.com/office/drawing/2014/main" id="{A677A730-02C2-487B-8977-4809A9059ABE}"/>
                </a:ext>
              </a:extLst>
            </p:cNvPr>
            <p:cNvSpPr/>
            <p:nvPr userDrawn="1"/>
          </p:nvSpPr>
          <p:spPr bwMode="auto">
            <a:xfrm>
              <a:off x="5703888" y="2747963"/>
              <a:ext cx="792163" cy="515938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9" name="íŝliḓè">
              <a:extLst>
                <a:ext uri="{FF2B5EF4-FFF2-40B4-BE49-F238E27FC236}">
                  <a16:creationId xmlns:a16="http://schemas.microsoft.com/office/drawing/2014/main" id="{DD6D326A-2354-4C03-AB6B-49C16EF157C8}"/>
                </a:ext>
              </a:extLst>
            </p:cNvPr>
            <p:cNvSpPr/>
            <p:nvPr userDrawn="1"/>
          </p:nvSpPr>
          <p:spPr bwMode="auto">
            <a:xfrm>
              <a:off x="5508625" y="4651375"/>
              <a:ext cx="1171575" cy="274638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90" name="ïSľíḋê">
              <a:extLst>
                <a:ext uri="{FF2B5EF4-FFF2-40B4-BE49-F238E27FC236}">
                  <a16:creationId xmlns:a16="http://schemas.microsoft.com/office/drawing/2014/main" id="{40A34E5A-796D-4746-AB6A-658AAC78E751}"/>
                </a:ext>
              </a:extLst>
            </p:cNvPr>
            <p:cNvSpPr/>
            <p:nvPr userDrawn="1"/>
          </p:nvSpPr>
          <p:spPr bwMode="auto">
            <a:xfrm>
              <a:off x="5643563" y="4651375"/>
              <a:ext cx="896938" cy="69850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91" name="íšļiḑê">
              <a:extLst>
                <a:ext uri="{FF2B5EF4-FFF2-40B4-BE49-F238E27FC236}">
                  <a16:creationId xmlns:a16="http://schemas.microsoft.com/office/drawing/2014/main" id="{BF761B53-9819-4981-B06C-5F03C421569A}"/>
                </a:ext>
              </a:extLst>
            </p:cNvPr>
            <p:cNvSpPr/>
            <p:nvPr userDrawn="1"/>
          </p:nvSpPr>
          <p:spPr bwMode="auto">
            <a:xfrm>
              <a:off x="6035675" y="4926013"/>
              <a:ext cx="109538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92" name="îşļiḓè">
              <a:extLst>
                <a:ext uri="{FF2B5EF4-FFF2-40B4-BE49-F238E27FC236}">
                  <a16:creationId xmlns:a16="http://schemas.microsoft.com/office/drawing/2014/main" id="{75FEF938-8AAF-47B1-9CFA-F7B86EBBBE0C}"/>
                </a:ext>
              </a:extLst>
            </p:cNvPr>
            <p:cNvSpPr/>
            <p:nvPr userDrawn="1"/>
          </p:nvSpPr>
          <p:spPr bwMode="auto">
            <a:xfrm>
              <a:off x="5518150" y="4816475"/>
              <a:ext cx="1150938" cy="109538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93" name="ïṥḻïḋê">
              <a:extLst>
                <a:ext uri="{FF2B5EF4-FFF2-40B4-BE49-F238E27FC236}">
                  <a16:creationId xmlns:a16="http://schemas.microsoft.com/office/drawing/2014/main" id="{761C5328-12F1-4870-9D49-FC4F1FD7F95C}"/>
                </a:ext>
              </a:extLst>
            </p:cNvPr>
            <p:cNvSpPr/>
            <p:nvPr userDrawn="1"/>
          </p:nvSpPr>
          <p:spPr bwMode="auto">
            <a:xfrm>
              <a:off x="6005513" y="4116388"/>
              <a:ext cx="173038" cy="1495425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496" name="işḻíḓé">
              <a:extLst>
                <a:ext uri="{FF2B5EF4-FFF2-40B4-BE49-F238E27FC236}">
                  <a16:creationId xmlns:a16="http://schemas.microsoft.com/office/drawing/2014/main" id="{800FAB39-622F-44D6-8F88-A5A46160EC15}"/>
                </a:ext>
              </a:extLst>
            </p:cNvPr>
            <p:cNvSpPr/>
            <p:nvPr userDrawn="1"/>
          </p:nvSpPr>
          <p:spPr bwMode="auto">
            <a:xfrm>
              <a:off x="6030913" y="2868613"/>
              <a:ext cx="122238" cy="1270000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497" name="íṧḷidé">
              <a:extLst>
                <a:ext uri="{FF2B5EF4-FFF2-40B4-BE49-F238E27FC236}">
                  <a16:creationId xmlns:a16="http://schemas.microsoft.com/office/drawing/2014/main" id="{ABDDBA1D-771A-4AEA-A275-7714B58A5CDE}"/>
                </a:ext>
              </a:extLst>
            </p:cNvPr>
            <p:cNvSpPr/>
            <p:nvPr userDrawn="1"/>
          </p:nvSpPr>
          <p:spPr bwMode="auto">
            <a:xfrm>
              <a:off x="5383213" y="5600700"/>
              <a:ext cx="471488" cy="184150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498" name="i$ḷîde">
              <a:extLst>
                <a:ext uri="{FF2B5EF4-FFF2-40B4-BE49-F238E27FC236}">
                  <a16:creationId xmlns:a16="http://schemas.microsoft.com/office/drawing/2014/main" id="{9464BA44-5546-4BFF-81AB-C9EB3BBBDEC1}"/>
                </a:ext>
              </a:extLst>
            </p:cNvPr>
            <p:cNvSpPr/>
            <p:nvPr userDrawn="1"/>
          </p:nvSpPr>
          <p:spPr bwMode="auto">
            <a:xfrm>
              <a:off x="5268913" y="4138613"/>
              <a:ext cx="825500" cy="825500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499" name="ïşḻïḓe">
              <a:extLst>
                <a:ext uri="{FF2B5EF4-FFF2-40B4-BE49-F238E27FC236}">
                  <a16:creationId xmlns:a16="http://schemas.microsoft.com/office/drawing/2014/main" id="{1901A403-0731-4E76-92DF-03729A93EFB7}"/>
                </a:ext>
              </a:extLst>
            </p:cNvPr>
            <p:cNvSpPr/>
            <p:nvPr userDrawn="1"/>
          </p:nvSpPr>
          <p:spPr bwMode="auto">
            <a:xfrm>
              <a:off x="6119813" y="4138613"/>
              <a:ext cx="822325" cy="825500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500" name="iṩḻïdè">
              <a:extLst>
                <a:ext uri="{FF2B5EF4-FFF2-40B4-BE49-F238E27FC236}">
                  <a16:creationId xmlns:a16="http://schemas.microsoft.com/office/drawing/2014/main" id="{EF7DB912-9B49-41EB-B054-0F306C4A4812}"/>
                </a:ext>
              </a:extLst>
            </p:cNvPr>
            <p:cNvSpPr/>
            <p:nvPr userDrawn="1"/>
          </p:nvSpPr>
          <p:spPr bwMode="auto">
            <a:xfrm>
              <a:off x="5994400" y="5611813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501" name="íṧḻíḋe">
              <a:extLst>
                <a:ext uri="{FF2B5EF4-FFF2-40B4-BE49-F238E27FC236}">
                  <a16:creationId xmlns:a16="http://schemas.microsoft.com/office/drawing/2014/main" id="{33CCAEBA-612A-42AC-BA81-AE941F910FCA}"/>
                </a:ext>
              </a:extLst>
            </p:cNvPr>
            <p:cNvSpPr/>
            <p:nvPr userDrawn="1"/>
          </p:nvSpPr>
          <p:spPr bwMode="auto">
            <a:xfrm>
              <a:off x="5994400" y="4054475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502" name="ïş1ïḓê">
              <a:extLst>
                <a:ext uri="{FF2B5EF4-FFF2-40B4-BE49-F238E27FC236}">
                  <a16:creationId xmlns:a16="http://schemas.microsoft.com/office/drawing/2014/main" id="{5B972618-293F-4550-A1A5-6F1ADEBFF5CA}"/>
                </a:ext>
              </a:extLst>
            </p:cNvPr>
            <p:cNvSpPr/>
            <p:nvPr userDrawn="1"/>
          </p:nvSpPr>
          <p:spPr bwMode="auto">
            <a:xfrm>
              <a:off x="565943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503" name="iṥḷïdé">
              <a:extLst>
                <a:ext uri="{FF2B5EF4-FFF2-40B4-BE49-F238E27FC236}">
                  <a16:creationId xmlns:a16="http://schemas.microsoft.com/office/drawing/2014/main" id="{A33E5FAA-7EE3-4655-8B96-50B25FCD10FB}"/>
                </a:ext>
              </a:extLst>
            </p:cNvPr>
            <p:cNvSpPr/>
            <p:nvPr userDrawn="1"/>
          </p:nvSpPr>
          <p:spPr bwMode="auto">
            <a:xfrm>
              <a:off x="632618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504" name="îṩľîde">
              <a:extLst>
                <a:ext uri="{FF2B5EF4-FFF2-40B4-BE49-F238E27FC236}">
                  <a16:creationId xmlns:a16="http://schemas.microsoft.com/office/drawing/2014/main" id="{79DA4745-2D3A-467A-ADB1-48DE97A435A2}"/>
                </a:ext>
              </a:extLst>
            </p:cNvPr>
            <p:cNvSpPr/>
            <p:nvPr userDrawn="1"/>
          </p:nvSpPr>
          <p:spPr bwMode="auto">
            <a:xfrm>
              <a:off x="5788025" y="5600700"/>
              <a:ext cx="612775" cy="6985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487784" y="4225335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87784" y="3929064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87785" y="1189668"/>
            <a:ext cx="4470400" cy="226377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30105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矩形 208">
            <a:extLst>
              <a:ext uri="{FF2B5EF4-FFF2-40B4-BE49-F238E27FC236}">
                <a16:creationId xmlns:a16="http://schemas.microsoft.com/office/drawing/2014/main" id="{8C37FE3A-6A6F-4D83-8E68-1ACB1353CE3B}"/>
              </a:ext>
            </a:extLst>
          </p:cNvPr>
          <p:cNvSpPr/>
          <p:nvPr userDrawn="1"/>
        </p:nvSpPr>
        <p:spPr>
          <a:xfrm>
            <a:off x="0" y="3501445"/>
            <a:ext cx="12192000" cy="3364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10" name="组合 20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E61662C-3B31-49F7-B7A6-4C83CFB01F0B}"/>
              </a:ext>
            </a:extLst>
          </p:cNvPr>
          <p:cNvGrpSpPr/>
          <p:nvPr userDrawn="1"/>
        </p:nvGrpSpPr>
        <p:grpSpPr>
          <a:xfrm>
            <a:off x="2566182" y="1205559"/>
            <a:ext cx="3529818" cy="3435378"/>
            <a:chOff x="3660775" y="974725"/>
            <a:chExt cx="5043488" cy="4908550"/>
          </a:xfrm>
        </p:grpSpPr>
        <p:sp>
          <p:nvSpPr>
            <p:cNvPr id="211" name="îṣḷïde">
              <a:extLst>
                <a:ext uri="{FF2B5EF4-FFF2-40B4-BE49-F238E27FC236}">
                  <a16:creationId xmlns:a16="http://schemas.microsoft.com/office/drawing/2014/main" id="{9F815CED-9F4A-4838-B283-7E3090059E38}"/>
                </a:ext>
              </a:extLst>
            </p:cNvPr>
            <p:cNvSpPr/>
            <p:nvPr userDrawn="1"/>
          </p:nvSpPr>
          <p:spPr bwMode="auto">
            <a:xfrm>
              <a:off x="4000500" y="2686050"/>
              <a:ext cx="625475" cy="147161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ïšḻíḍê">
              <a:extLst>
                <a:ext uri="{FF2B5EF4-FFF2-40B4-BE49-F238E27FC236}">
                  <a16:creationId xmlns:a16="http://schemas.microsoft.com/office/drawing/2014/main" id="{67DE7ED1-1B08-4F80-9FC2-6F89A9EE9CBF}"/>
                </a:ext>
              </a:extLst>
            </p:cNvPr>
            <p:cNvSpPr/>
            <p:nvPr userDrawn="1"/>
          </p:nvSpPr>
          <p:spPr bwMode="auto">
            <a:xfrm>
              <a:off x="4522788" y="2686050"/>
              <a:ext cx="103188" cy="246063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rgbClr val="B57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íšḷiḑe">
              <a:extLst>
                <a:ext uri="{FF2B5EF4-FFF2-40B4-BE49-F238E27FC236}">
                  <a16:creationId xmlns:a16="http://schemas.microsoft.com/office/drawing/2014/main" id="{7CE1EB59-FDFC-4B41-A456-22EA5FCC9CF9}"/>
                </a:ext>
              </a:extLst>
            </p:cNvPr>
            <p:cNvSpPr/>
            <p:nvPr userDrawn="1"/>
          </p:nvSpPr>
          <p:spPr bwMode="auto">
            <a:xfrm>
              <a:off x="6607175" y="1352550"/>
              <a:ext cx="1404938" cy="1403350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îṩ1iḑé">
              <a:extLst>
                <a:ext uri="{FF2B5EF4-FFF2-40B4-BE49-F238E27FC236}">
                  <a16:creationId xmlns:a16="http://schemas.microsoft.com/office/drawing/2014/main" id="{693233A4-2E2D-4FEC-981E-F5A43CDC2A0D}"/>
                </a:ext>
              </a:extLst>
            </p:cNvPr>
            <p:cNvSpPr/>
            <p:nvPr userDrawn="1"/>
          </p:nvSpPr>
          <p:spPr bwMode="auto">
            <a:xfrm>
              <a:off x="8085138" y="1735138"/>
              <a:ext cx="619125" cy="61912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ïṧ1îďê">
              <a:extLst>
                <a:ext uri="{FF2B5EF4-FFF2-40B4-BE49-F238E27FC236}">
                  <a16:creationId xmlns:a16="http://schemas.microsoft.com/office/drawing/2014/main" id="{82077191-990F-46EB-AC7D-3BD85432FB73}"/>
                </a:ext>
              </a:extLst>
            </p:cNvPr>
            <p:cNvSpPr/>
            <p:nvPr userDrawn="1"/>
          </p:nvSpPr>
          <p:spPr bwMode="auto">
            <a:xfrm>
              <a:off x="5824538" y="974725"/>
              <a:ext cx="914400" cy="91122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íşlïďê">
              <a:extLst>
                <a:ext uri="{FF2B5EF4-FFF2-40B4-BE49-F238E27FC236}">
                  <a16:creationId xmlns:a16="http://schemas.microsoft.com/office/drawing/2014/main" id="{C238C2D4-A315-4A67-AF83-E608C0C4D71E}"/>
                </a:ext>
              </a:extLst>
            </p:cNvPr>
            <p:cNvSpPr/>
            <p:nvPr userDrawn="1"/>
          </p:nvSpPr>
          <p:spPr bwMode="auto">
            <a:xfrm>
              <a:off x="3660775" y="4157663"/>
              <a:ext cx="4867275" cy="125413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íśḷïdè">
              <a:extLst>
                <a:ext uri="{FF2B5EF4-FFF2-40B4-BE49-F238E27FC236}">
                  <a16:creationId xmlns:a16="http://schemas.microsoft.com/office/drawing/2014/main" id="{FB21D5AA-DD86-4396-9505-2B9F47F0C2CC}"/>
                </a:ext>
              </a:extLst>
            </p:cNvPr>
            <p:cNvSpPr/>
            <p:nvPr userDrawn="1"/>
          </p:nvSpPr>
          <p:spPr bwMode="auto">
            <a:xfrm>
              <a:off x="3663950" y="4246563"/>
              <a:ext cx="4859338" cy="36513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îṥlïḋê">
              <a:extLst>
                <a:ext uri="{FF2B5EF4-FFF2-40B4-BE49-F238E27FC236}">
                  <a16:creationId xmlns:a16="http://schemas.microsoft.com/office/drawing/2014/main" id="{881A9875-ABC3-430C-8E2C-3A83041D85FA}"/>
                </a:ext>
              </a:extLst>
            </p:cNvPr>
            <p:cNvSpPr/>
            <p:nvPr userDrawn="1"/>
          </p:nvSpPr>
          <p:spPr bwMode="auto">
            <a:xfrm>
              <a:off x="5121275" y="4090988"/>
              <a:ext cx="1758950" cy="66675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ṣľíḑê">
              <a:extLst>
                <a:ext uri="{FF2B5EF4-FFF2-40B4-BE49-F238E27FC236}">
                  <a16:creationId xmlns:a16="http://schemas.microsoft.com/office/drawing/2014/main" id="{034FC554-C133-4260-ABC8-1DCA170091B6}"/>
                </a:ext>
              </a:extLst>
            </p:cNvPr>
            <p:cNvSpPr/>
            <p:nvPr userDrawn="1"/>
          </p:nvSpPr>
          <p:spPr bwMode="auto">
            <a:xfrm>
              <a:off x="5300663" y="4090988"/>
              <a:ext cx="1758950" cy="66675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iṩ1idè">
              <a:extLst>
                <a:ext uri="{FF2B5EF4-FFF2-40B4-BE49-F238E27FC236}">
                  <a16:creationId xmlns:a16="http://schemas.microsoft.com/office/drawing/2014/main" id="{135256E0-6AD7-489D-B654-3212BD3B17C6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762125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172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ï$1iďè">
              <a:extLst>
                <a:ext uri="{FF2B5EF4-FFF2-40B4-BE49-F238E27FC236}">
                  <a16:creationId xmlns:a16="http://schemas.microsoft.com/office/drawing/2014/main" id="{F6AA95AF-CFE7-468E-B732-26B1BD4D19EE}"/>
                </a:ext>
              </a:extLst>
            </p:cNvPr>
            <p:cNvSpPr/>
            <p:nvPr userDrawn="1"/>
          </p:nvSpPr>
          <p:spPr bwMode="auto">
            <a:xfrm>
              <a:off x="6083300" y="2189163"/>
              <a:ext cx="36513" cy="123190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ïŝḻïḓè">
              <a:extLst>
                <a:ext uri="{FF2B5EF4-FFF2-40B4-BE49-F238E27FC236}">
                  <a16:creationId xmlns:a16="http://schemas.microsoft.com/office/drawing/2014/main" id="{34614279-AE0A-42EB-BD13-292D920E2637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84150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íṧľîḑe">
              <a:extLst>
                <a:ext uri="{FF2B5EF4-FFF2-40B4-BE49-F238E27FC236}">
                  <a16:creationId xmlns:a16="http://schemas.microsoft.com/office/drawing/2014/main" id="{298945AC-65AD-4286-BA45-E7C81CABBA4A}"/>
                </a:ext>
              </a:extLst>
            </p:cNvPr>
            <p:cNvSpPr/>
            <p:nvPr userDrawn="1"/>
          </p:nvSpPr>
          <p:spPr bwMode="auto">
            <a:xfrm>
              <a:off x="6323013" y="2828925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ísļídè">
              <a:extLst>
                <a:ext uri="{FF2B5EF4-FFF2-40B4-BE49-F238E27FC236}">
                  <a16:creationId xmlns:a16="http://schemas.microsoft.com/office/drawing/2014/main" id="{29689A9A-61E9-4824-81B3-A2A002BA92BD}"/>
                </a:ext>
              </a:extLst>
            </p:cNvPr>
            <p:cNvSpPr/>
            <p:nvPr userDrawn="1"/>
          </p:nvSpPr>
          <p:spPr bwMode="auto">
            <a:xfrm>
              <a:off x="6323013" y="2957513"/>
              <a:ext cx="485775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îSlíḑè">
              <a:extLst>
                <a:ext uri="{FF2B5EF4-FFF2-40B4-BE49-F238E27FC236}">
                  <a16:creationId xmlns:a16="http://schemas.microsoft.com/office/drawing/2014/main" id="{B0B64C9E-6C96-4267-87EC-BA99FC6A8F1A}"/>
                </a:ext>
              </a:extLst>
            </p:cNvPr>
            <p:cNvSpPr/>
            <p:nvPr userDrawn="1"/>
          </p:nvSpPr>
          <p:spPr bwMode="auto">
            <a:xfrm>
              <a:off x="68580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ïslíďê">
              <a:extLst>
                <a:ext uri="{FF2B5EF4-FFF2-40B4-BE49-F238E27FC236}">
                  <a16:creationId xmlns:a16="http://schemas.microsoft.com/office/drawing/2014/main" id="{595D0915-7554-4636-B827-D4D6168C24E9}"/>
                </a:ext>
              </a:extLst>
            </p:cNvPr>
            <p:cNvSpPr/>
            <p:nvPr userDrawn="1"/>
          </p:nvSpPr>
          <p:spPr bwMode="auto">
            <a:xfrm>
              <a:off x="63230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íṥļïďé">
              <a:extLst>
                <a:ext uri="{FF2B5EF4-FFF2-40B4-BE49-F238E27FC236}">
                  <a16:creationId xmlns:a16="http://schemas.microsoft.com/office/drawing/2014/main" id="{528FE62F-C06E-494D-890A-E500CB0FA152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ïṧḻiďê">
              <a:extLst>
                <a:ext uri="{FF2B5EF4-FFF2-40B4-BE49-F238E27FC236}">
                  <a16:creationId xmlns:a16="http://schemas.microsoft.com/office/drawing/2014/main" id="{8B84DC9C-E176-480B-8065-BCFEF8896A50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îṩḻiḓê">
              <a:extLst>
                <a:ext uri="{FF2B5EF4-FFF2-40B4-BE49-F238E27FC236}">
                  <a16:creationId xmlns:a16="http://schemas.microsoft.com/office/drawing/2014/main" id="{C0870957-D403-4800-B4B0-C7C51FF56F3D}"/>
                </a:ext>
              </a:extLst>
            </p:cNvPr>
            <p:cNvSpPr/>
            <p:nvPr userDrawn="1"/>
          </p:nvSpPr>
          <p:spPr bwMode="auto">
            <a:xfrm>
              <a:off x="6802438" y="2828925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îŝ1îḍê">
              <a:extLst>
                <a:ext uri="{FF2B5EF4-FFF2-40B4-BE49-F238E27FC236}">
                  <a16:creationId xmlns:a16="http://schemas.microsoft.com/office/drawing/2014/main" id="{7A1C70C2-D69C-44C8-B8DC-90B30B3FDED9}"/>
                </a:ext>
              </a:extLst>
            </p:cNvPr>
            <p:cNvSpPr/>
            <p:nvPr userDrawn="1"/>
          </p:nvSpPr>
          <p:spPr bwMode="auto">
            <a:xfrm>
              <a:off x="6323013" y="2220913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iṩ1îďé">
              <a:extLst>
                <a:ext uri="{FF2B5EF4-FFF2-40B4-BE49-F238E27FC236}">
                  <a16:creationId xmlns:a16="http://schemas.microsoft.com/office/drawing/2014/main" id="{5B66572D-DFEB-44A8-BCB9-6D2A59AFB190}"/>
                </a:ext>
              </a:extLst>
            </p:cNvPr>
            <p:cNvSpPr/>
            <p:nvPr userDrawn="1"/>
          </p:nvSpPr>
          <p:spPr bwMode="auto">
            <a:xfrm>
              <a:off x="6323013" y="2351088"/>
              <a:ext cx="485775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iSḻíḍe">
              <a:extLst>
                <a:ext uri="{FF2B5EF4-FFF2-40B4-BE49-F238E27FC236}">
                  <a16:creationId xmlns:a16="http://schemas.microsoft.com/office/drawing/2014/main" id="{D984DE33-B66B-4605-B722-BDA90EFA2831}"/>
                </a:ext>
              </a:extLst>
            </p:cNvPr>
            <p:cNvSpPr/>
            <p:nvPr userDrawn="1"/>
          </p:nvSpPr>
          <p:spPr bwMode="auto">
            <a:xfrm>
              <a:off x="68580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íṥ1iḍè">
              <a:extLst>
                <a:ext uri="{FF2B5EF4-FFF2-40B4-BE49-F238E27FC236}">
                  <a16:creationId xmlns:a16="http://schemas.microsoft.com/office/drawing/2014/main" id="{F0B0A692-2AA2-49A8-8776-54DE8F97BD1C}"/>
                </a:ext>
              </a:extLst>
            </p:cNvPr>
            <p:cNvSpPr/>
            <p:nvPr userDrawn="1"/>
          </p:nvSpPr>
          <p:spPr bwMode="auto">
            <a:xfrm>
              <a:off x="63230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íṡ1íḓe">
              <a:extLst>
                <a:ext uri="{FF2B5EF4-FFF2-40B4-BE49-F238E27FC236}">
                  <a16:creationId xmlns:a16="http://schemas.microsoft.com/office/drawing/2014/main" id="{BEFC73D3-5675-4EB0-B738-8D4610EC0F81}"/>
                </a:ext>
              </a:extLst>
            </p:cNvPr>
            <p:cNvSpPr/>
            <p:nvPr userDrawn="1"/>
          </p:nvSpPr>
          <p:spPr bwMode="auto">
            <a:xfrm>
              <a:off x="6580188" y="2479675"/>
              <a:ext cx="71596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íŝľíḑe">
              <a:extLst>
                <a:ext uri="{FF2B5EF4-FFF2-40B4-BE49-F238E27FC236}">
                  <a16:creationId xmlns:a16="http://schemas.microsoft.com/office/drawing/2014/main" id="{97EFC203-7A3E-48BB-A2FD-D90A595525E0}"/>
                </a:ext>
              </a:extLst>
            </p:cNvPr>
            <p:cNvSpPr/>
            <p:nvPr userDrawn="1"/>
          </p:nvSpPr>
          <p:spPr bwMode="auto">
            <a:xfrm>
              <a:off x="6802438" y="2220913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ïṥ1îḓè">
              <a:extLst>
                <a:ext uri="{FF2B5EF4-FFF2-40B4-BE49-F238E27FC236}">
                  <a16:creationId xmlns:a16="http://schemas.microsoft.com/office/drawing/2014/main" id="{6B048252-4BA1-459A-8E21-21E8ABB24328}"/>
                </a:ext>
              </a:extLst>
            </p:cNvPr>
            <p:cNvSpPr/>
            <p:nvPr userDrawn="1"/>
          </p:nvSpPr>
          <p:spPr bwMode="auto">
            <a:xfrm>
              <a:off x="5002213" y="2828925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íṡḷidê">
              <a:extLst>
                <a:ext uri="{FF2B5EF4-FFF2-40B4-BE49-F238E27FC236}">
                  <a16:creationId xmlns:a16="http://schemas.microsoft.com/office/drawing/2014/main" id="{03A25EA9-7DDA-4805-9FEC-F058B82DA08B}"/>
                </a:ext>
              </a:extLst>
            </p:cNvPr>
            <p:cNvSpPr/>
            <p:nvPr userDrawn="1"/>
          </p:nvSpPr>
          <p:spPr bwMode="auto">
            <a:xfrm>
              <a:off x="5002213" y="2957513"/>
              <a:ext cx="484188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ïSḻïḑe">
              <a:extLst>
                <a:ext uri="{FF2B5EF4-FFF2-40B4-BE49-F238E27FC236}">
                  <a16:creationId xmlns:a16="http://schemas.microsoft.com/office/drawing/2014/main" id="{D9AA68E9-86CB-48C9-B761-014F222EFC4A}"/>
                </a:ext>
              </a:extLst>
            </p:cNvPr>
            <p:cNvSpPr/>
            <p:nvPr userDrawn="1"/>
          </p:nvSpPr>
          <p:spPr bwMode="auto">
            <a:xfrm>
              <a:off x="55372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ïŝlîḋe">
              <a:extLst>
                <a:ext uri="{FF2B5EF4-FFF2-40B4-BE49-F238E27FC236}">
                  <a16:creationId xmlns:a16="http://schemas.microsoft.com/office/drawing/2014/main" id="{DF610359-D451-47FC-B413-07CEFB9F9C35}"/>
                </a:ext>
              </a:extLst>
            </p:cNvPr>
            <p:cNvSpPr/>
            <p:nvPr userDrawn="1"/>
          </p:nvSpPr>
          <p:spPr bwMode="auto">
            <a:xfrm>
              <a:off x="50022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ïṣḷidè">
              <a:extLst>
                <a:ext uri="{FF2B5EF4-FFF2-40B4-BE49-F238E27FC236}">
                  <a16:creationId xmlns:a16="http://schemas.microsoft.com/office/drawing/2014/main" id="{86EE2074-5A4B-4337-8775-5260608E4AE3}"/>
                </a:ext>
              </a:extLst>
            </p:cNvPr>
            <p:cNvSpPr/>
            <p:nvPr userDrawn="1"/>
          </p:nvSpPr>
          <p:spPr bwMode="auto">
            <a:xfrm>
              <a:off x="5260975" y="3086100"/>
              <a:ext cx="711200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íṧľîḓê">
              <a:extLst>
                <a:ext uri="{FF2B5EF4-FFF2-40B4-BE49-F238E27FC236}">
                  <a16:creationId xmlns:a16="http://schemas.microsoft.com/office/drawing/2014/main" id="{6EC69D07-7976-4CBC-A4D7-08893777C416}"/>
                </a:ext>
              </a:extLst>
            </p:cNvPr>
            <p:cNvSpPr/>
            <p:nvPr userDrawn="1"/>
          </p:nvSpPr>
          <p:spPr bwMode="auto">
            <a:xfrm>
              <a:off x="5481638" y="2828925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ïšḷîḓe">
              <a:extLst>
                <a:ext uri="{FF2B5EF4-FFF2-40B4-BE49-F238E27FC236}">
                  <a16:creationId xmlns:a16="http://schemas.microsoft.com/office/drawing/2014/main" id="{E2772D90-51F0-4204-B851-A02DEE86D856}"/>
                </a:ext>
              </a:extLst>
            </p:cNvPr>
            <p:cNvSpPr/>
            <p:nvPr userDrawn="1"/>
          </p:nvSpPr>
          <p:spPr bwMode="auto">
            <a:xfrm>
              <a:off x="5002213" y="2220913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îśliḍé">
              <a:extLst>
                <a:ext uri="{FF2B5EF4-FFF2-40B4-BE49-F238E27FC236}">
                  <a16:creationId xmlns:a16="http://schemas.microsoft.com/office/drawing/2014/main" id="{44D1F172-0703-47BB-83D1-B7A21C244CE8}"/>
                </a:ext>
              </a:extLst>
            </p:cNvPr>
            <p:cNvSpPr/>
            <p:nvPr userDrawn="1"/>
          </p:nvSpPr>
          <p:spPr bwMode="auto">
            <a:xfrm>
              <a:off x="5002213" y="2351088"/>
              <a:ext cx="484188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iṥ1iḍê">
              <a:extLst>
                <a:ext uri="{FF2B5EF4-FFF2-40B4-BE49-F238E27FC236}">
                  <a16:creationId xmlns:a16="http://schemas.microsoft.com/office/drawing/2014/main" id="{C1846154-6A09-41D4-A7EF-0CB356236893}"/>
                </a:ext>
              </a:extLst>
            </p:cNvPr>
            <p:cNvSpPr/>
            <p:nvPr userDrawn="1"/>
          </p:nvSpPr>
          <p:spPr bwMode="auto">
            <a:xfrm>
              <a:off x="55372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ïSlïḑe">
              <a:extLst>
                <a:ext uri="{FF2B5EF4-FFF2-40B4-BE49-F238E27FC236}">
                  <a16:creationId xmlns:a16="http://schemas.microsoft.com/office/drawing/2014/main" id="{9128667E-8000-48E0-BD9C-7C3A79C24791}"/>
                </a:ext>
              </a:extLst>
            </p:cNvPr>
            <p:cNvSpPr/>
            <p:nvPr userDrawn="1"/>
          </p:nvSpPr>
          <p:spPr bwMode="auto">
            <a:xfrm>
              <a:off x="50022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ïśľîďe">
              <a:extLst>
                <a:ext uri="{FF2B5EF4-FFF2-40B4-BE49-F238E27FC236}">
                  <a16:creationId xmlns:a16="http://schemas.microsoft.com/office/drawing/2014/main" id="{951096FD-1D28-4525-A0BE-386E83D0C537}"/>
                </a:ext>
              </a:extLst>
            </p:cNvPr>
            <p:cNvSpPr/>
            <p:nvPr userDrawn="1"/>
          </p:nvSpPr>
          <p:spPr bwMode="auto">
            <a:xfrm>
              <a:off x="5260975" y="2479675"/>
              <a:ext cx="711200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îṡľiďé">
              <a:extLst>
                <a:ext uri="{FF2B5EF4-FFF2-40B4-BE49-F238E27FC236}">
                  <a16:creationId xmlns:a16="http://schemas.microsoft.com/office/drawing/2014/main" id="{170BF2D8-5469-447F-AFAD-C77832D6C9D9}"/>
                </a:ext>
              </a:extLst>
            </p:cNvPr>
            <p:cNvSpPr/>
            <p:nvPr userDrawn="1"/>
          </p:nvSpPr>
          <p:spPr bwMode="auto">
            <a:xfrm>
              <a:off x="5481638" y="2220913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ís1iḋê">
              <a:extLst>
                <a:ext uri="{FF2B5EF4-FFF2-40B4-BE49-F238E27FC236}">
                  <a16:creationId xmlns:a16="http://schemas.microsoft.com/office/drawing/2014/main" id="{EA9A0FDE-4252-4FEC-9150-2157D1EEEDE9}"/>
                </a:ext>
              </a:extLst>
            </p:cNvPr>
            <p:cNvSpPr/>
            <p:nvPr userDrawn="1"/>
          </p:nvSpPr>
          <p:spPr bwMode="auto">
            <a:xfrm>
              <a:off x="4625975" y="1865313"/>
              <a:ext cx="2946400" cy="1879600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ïš1idè">
              <a:extLst>
                <a:ext uri="{FF2B5EF4-FFF2-40B4-BE49-F238E27FC236}">
                  <a16:creationId xmlns:a16="http://schemas.microsoft.com/office/drawing/2014/main" id="{218FF8F3-475B-49BC-BBE5-70957A769500}"/>
                </a:ext>
              </a:extLst>
            </p:cNvPr>
            <p:cNvSpPr/>
            <p:nvPr userDrawn="1"/>
          </p:nvSpPr>
          <p:spPr bwMode="auto">
            <a:xfrm>
              <a:off x="6919913" y="3152775"/>
              <a:ext cx="409575" cy="212725"/>
            </a:xfrm>
            <a:custGeom>
              <a:avLst/>
              <a:gdLst>
                <a:gd name="T0" fmla="*/ 2 w 111"/>
                <a:gd name="T1" fmla="*/ 37 h 58"/>
                <a:gd name="T2" fmla="*/ 2 w 111"/>
                <a:gd name="T3" fmla="*/ 41 h 58"/>
                <a:gd name="T4" fmla="*/ 0 w 111"/>
                <a:gd name="T5" fmla="*/ 58 h 58"/>
                <a:gd name="T6" fmla="*/ 24 w 111"/>
                <a:gd name="T7" fmla="*/ 58 h 58"/>
                <a:gd name="T8" fmla="*/ 2 w 111"/>
                <a:gd name="T9" fmla="*/ 37 h 58"/>
                <a:gd name="T10" fmla="*/ 69 w 111"/>
                <a:gd name="T11" fmla="*/ 0 h 58"/>
                <a:gd name="T12" fmla="*/ 41 w 111"/>
                <a:gd name="T13" fmla="*/ 0 h 58"/>
                <a:gd name="T14" fmla="*/ 39 w 111"/>
                <a:gd name="T15" fmla="*/ 1 h 58"/>
                <a:gd name="T16" fmla="*/ 36 w 111"/>
                <a:gd name="T17" fmla="*/ 2 h 58"/>
                <a:gd name="T18" fmla="*/ 77 w 111"/>
                <a:gd name="T19" fmla="*/ 40 h 58"/>
                <a:gd name="T20" fmla="*/ 73 w 111"/>
                <a:gd name="T21" fmla="*/ 58 h 58"/>
                <a:gd name="T22" fmla="*/ 110 w 111"/>
                <a:gd name="T23" fmla="*/ 58 h 58"/>
                <a:gd name="T24" fmla="*/ 92 w 111"/>
                <a:gd name="T25" fmla="*/ 13 h 58"/>
                <a:gd name="T26" fmla="*/ 92 w 111"/>
                <a:gd name="T27" fmla="*/ 13 h 58"/>
                <a:gd name="T28" fmla="*/ 69 w 111"/>
                <a:gd name="T2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58">
                  <a:moveTo>
                    <a:pt x="2" y="37"/>
                  </a:moveTo>
                  <a:cubicBezTo>
                    <a:pt x="2" y="41"/>
                    <a:pt x="2" y="41"/>
                    <a:pt x="2" y="41"/>
                  </a:cubicBezTo>
                  <a:cubicBezTo>
                    <a:pt x="0" y="46"/>
                    <a:pt x="0" y="52"/>
                    <a:pt x="0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" y="37"/>
                    <a:pt x="2" y="37"/>
                    <a:pt x="2" y="37"/>
                  </a:cubicBezTo>
                  <a:moveTo>
                    <a:pt x="69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39" y="0"/>
                    <a:pt x="39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1" y="41"/>
                    <a:pt x="105" y="24"/>
                    <a:pt x="92" y="13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86" y="7"/>
                    <a:pt x="78" y="2"/>
                    <a:pt x="69" y="0"/>
                  </a:cubicBezTo>
                </a:path>
              </a:pathLst>
            </a:custGeom>
            <a:solidFill>
              <a:srgbClr val="1327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iSľíḑé">
              <a:extLst>
                <a:ext uri="{FF2B5EF4-FFF2-40B4-BE49-F238E27FC236}">
                  <a16:creationId xmlns:a16="http://schemas.microsoft.com/office/drawing/2014/main" id="{6DBF8FCE-4C76-4049-971D-EADCFACCF652}"/>
                </a:ext>
              </a:extLst>
            </p:cNvPr>
            <p:cNvSpPr/>
            <p:nvPr userDrawn="1"/>
          </p:nvSpPr>
          <p:spPr bwMode="auto">
            <a:xfrm>
              <a:off x="7070725" y="3144838"/>
              <a:ext cx="103188" cy="7938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îslîďè">
              <a:extLst>
                <a:ext uri="{FF2B5EF4-FFF2-40B4-BE49-F238E27FC236}">
                  <a16:creationId xmlns:a16="http://schemas.microsoft.com/office/drawing/2014/main" id="{B83FFC27-5F09-4196-80BF-7A724DEBA8DE}"/>
                </a:ext>
              </a:extLst>
            </p:cNvPr>
            <p:cNvSpPr/>
            <p:nvPr userDrawn="1"/>
          </p:nvSpPr>
          <p:spPr bwMode="auto">
            <a:xfrm>
              <a:off x="6919913" y="3365500"/>
              <a:ext cx="630238" cy="373063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îSľiḑe">
              <a:extLst>
                <a:ext uri="{FF2B5EF4-FFF2-40B4-BE49-F238E27FC236}">
                  <a16:creationId xmlns:a16="http://schemas.microsoft.com/office/drawing/2014/main" id="{8107D903-1D25-48EF-8568-1D05CA595CBE}"/>
                </a:ext>
              </a:extLst>
            </p:cNvPr>
            <p:cNvSpPr/>
            <p:nvPr userDrawn="1"/>
          </p:nvSpPr>
          <p:spPr bwMode="auto">
            <a:xfrm>
              <a:off x="4748213" y="1952625"/>
              <a:ext cx="2706688" cy="111125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íSļíḓè">
              <a:extLst>
                <a:ext uri="{FF2B5EF4-FFF2-40B4-BE49-F238E27FC236}">
                  <a16:creationId xmlns:a16="http://schemas.microsoft.com/office/drawing/2014/main" id="{07D4F4CD-7559-4DD8-9AA1-FC0E49095616}"/>
                </a:ext>
              </a:extLst>
            </p:cNvPr>
            <p:cNvSpPr/>
            <p:nvPr userDrawn="1"/>
          </p:nvSpPr>
          <p:spPr bwMode="auto">
            <a:xfrm>
              <a:off x="4625975" y="3521075"/>
              <a:ext cx="2946400" cy="223838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ïṧḻídé">
              <a:extLst>
                <a:ext uri="{FF2B5EF4-FFF2-40B4-BE49-F238E27FC236}">
                  <a16:creationId xmlns:a16="http://schemas.microsoft.com/office/drawing/2014/main" id="{6B3E522A-87EC-47CB-B706-8551808E4479}"/>
                </a:ext>
              </a:extLst>
            </p:cNvPr>
            <p:cNvSpPr/>
            <p:nvPr userDrawn="1"/>
          </p:nvSpPr>
          <p:spPr bwMode="auto">
            <a:xfrm>
              <a:off x="7265988" y="2019300"/>
              <a:ext cx="60325" cy="58738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iṧlïḋê">
              <a:extLst>
                <a:ext uri="{FF2B5EF4-FFF2-40B4-BE49-F238E27FC236}">
                  <a16:creationId xmlns:a16="http://schemas.microsoft.com/office/drawing/2014/main" id="{FD7F2B50-0576-4B48-BD67-409BDF61A3B4}"/>
                </a:ext>
              </a:extLst>
            </p:cNvPr>
            <p:cNvSpPr/>
            <p:nvPr userDrawn="1"/>
          </p:nvSpPr>
          <p:spPr bwMode="auto">
            <a:xfrm>
              <a:off x="7162800" y="2019300"/>
              <a:ext cx="60325" cy="58738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ïSḷîḍê">
              <a:extLst>
                <a:ext uri="{FF2B5EF4-FFF2-40B4-BE49-F238E27FC236}">
                  <a16:creationId xmlns:a16="http://schemas.microsoft.com/office/drawing/2014/main" id="{0A250E1E-80BB-4887-BF8C-BCF42B27425D}"/>
                </a:ext>
              </a:extLst>
            </p:cNvPr>
            <p:cNvSpPr/>
            <p:nvPr userDrawn="1"/>
          </p:nvSpPr>
          <p:spPr bwMode="auto">
            <a:xfrm>
              <a:off x="7059613" y="2019300"/>
              <a:ext cx="60325" cy="58738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íşlîḍe">
              <a:extLst>
                <a:ext uri="{FF2B5EF4-FFF2-40B4-BE49-F238E27FC236}">
                  <a16:creationId xmlns:a16="http://schemas.microsoft.com/office/drawing/2014/main" id="{BF9DF52F-9D83-4851-96C1-B1756C6635CA}"/>
                </a:ext>
              </a:extLst>
            </p:cNvPr>
            <p:cNvSpPr/>
            <p:nvPr userDrawn="1"/>
          </p:nvSpPr>
          <p:spPr bwMode="auto">
            <a:xfrm>
              <a:off x="4438650" y="2619375"/>
              <a:ext cx="741363" cy="1538288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îṧliḓe">
              <a:extLst>
                <a:ext uri="{FF2B5EF4-FFF2-40B4-BE49-F238E27FC236}">
                  <a16:creationId xmlns:a16="http://schemas.microsoft.com/office/drawing/2014/main" id="{9DE8548E-3E05-4B67-927D-31DC785333E5}"/>
                </a:ext>
              </a:extLst>
            </p:cNvPr>
            <p:cNvSpPr/>
            <p:nvPr userDrawn="1"/>
          </p:nvSpPr>
          <p:spPr bwMode="auto">
            <a:xfrm>
              <a:off x="4545013" y="2887663"/>
              <a:ext cx="457200" cy="95250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ïšľïḍê">
              <a:extLst>
                <a:ext uri="{FF2B5EF4-FFF2-40B4-BE49-F238E27FC236}">
                  <a16:creationId xmlns:a16="http://schemas.microsoft.com/office/drawing/2014/main" id="{9DDB46BA-311A-4A6B-957B-4EC8F71B0C47}"/>
                </a:ext>
              </a:extLst>
            </p:cNvPr>
            <p:cNvSpPr/>
            <p:nvPr userDrawn="1"/>
          </p:nvSpPr>
          <p:spPr bwMode="auto">
            <a:xfrm>
              <a:off x="4419600" y="3225800"/>
              <a:ext cx="454025" cy="96838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ïṡ1îḍe">
              <a:extLst>
                <a:ext uri="{FF2B5EF4-FFF2-40B4-BE49-F238E27FC236}">
                  <a16:creationId xmlns:a16="http://schemas.microsoft.com/office/drawing/2014/main" id="{2B840719-EFA3-4C12-8F06-BF63030F9294}"/>
                </a:ext>
              </a:extLst>
            </p:cNvPr>
            <p:cNvSpPr/>
            <p:nvPr userDrawn="1"/>
          </p:nvSpPr>
          <p:spPr bwMode="auto">
            <a:xfrm>
              <a:off x="4271963" y="3565525"/>
              <a:ext cx="465138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iṧḷídè">
              <a:extLst>
                <a:ext uri="{FF2B5EF4-FFF2-40B4-BE49-F238E27FC236}">
                  <a16:creationId xmlns:a16="http://schemas.microsoft.com/office/drawing/2014/main" id="{B11A465F-18FD-41B1-BBE5-D466DE4FBADA}"/>
                </a:ext>
              </a:extLst>
            </p:cNvPr>
            <p:cNvSpPr/>
            <p:nvPr userDrawn="1"/>
          </p:nvSpPr>
          <p:spPr bwMode="auto">
            <a:xfrm>
              <a:off x="4137025" y="3903663"/>
              <a:ext cx="449263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íṥļïďê">
              <a:extLst>
                <a:ext uri="{FF2B5EF4-FFF2-40B4-BE49-F238E27FC236}">
                  <a16:creationId xmlns:a16="http://schemas.microsoft.com/office/drawing/2014/main" id="{A5D40688-4178-488D-A401-C63E9F9901D1}"/>
                </a:ext>
              </a:extLst>
            </p:cNvPr>
            <p:cNvSpPr/>
            <p:nvPr userDrawn="1"/>
          </p:nvSpPr>
          <p:spPr bwMode="auto">
            <a:xfrm>
              <a:off x="6978650" y="2998788"/>
              <a:ext cx="919163" cy="116998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iṡlîḑe">
              <a:extLst>
                <a:ext uri="{FF2B5EF4-FFF2-40B4-BE49-F238E27FC236}">
                  <a16:creationId xmlns:a16="http://schemas.microsoft.com/office/drawing/2014/main" id="{2CF9FD8F-7AB9-4413-BA6D-0AEC3AAA703B}"/>
                </a:ext>
              </a:extLst>
            </p:cNvPr>
            <p:cNvSpPr/>
            <p:nvPr userDrawn="1"/>
          </p:nvSpPr>
          <p:spPr bwMode="auto">
            <a:xfrm>
              <a:off x="7304088" y="3384550"/>
              <a:ext cx="515938" cy="69215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îşļïďê">
              <a:extLst>
                <a:ext uri="{FF2B5EF4-FFF2-40B4-BE49-F238E27FC236}">
                  <a16:creationId xmlns:a16="http://schemas.microsoft.com/office/drawing/2014/main" id="{0A260C92-F3B0-4023-85C8-AE243717C868}"/>
                </a:ext>
              </a:extLst>
            </p:cNvPr>
            <p:cNvSpPr/>
            <p:nvPr userDrawn="1"/>
          </p:nvSpPr>
          <p:spPr bwMode="auto">
            <a:xfrm>
              <a:off x="5035550" y="5718175"/>
              <a:ext cx="2116138" cy="165100"/>
            </a:xfrm>
            <a:custGeom>
              <a:avLst/>
              <a:gdLst>
                <a:gd name="T0" fmla="*/ 552 w 574"/>
                <a:gd name="T1" fmla="*/ 45 h 45"/>
                <a:gd name="T2" fmla="*/ 22 w 574"/>
                <a:gd name="T3" fmla="*/ 45 h 45"/>
                <a:gd name="T4" fmla="*/ 0 w 574"/>
                <a:gd name="T5" fmla="*/ 22 h 45"/>
                <a:gd name="T6" fmla="*/ 22 w 574"/>
                <a:gd name="T7" fmla="*/ 0 h 45"/>
                <a:gd name="T8" fmla="*/ 552 w 574"/>
                <a:gd name="T9" fmla="*/ 0 h 45"/>
                <a:gd name="T10" fmla="*/ 574 w 574"/>
                <a:gd name="T11" fmla="*/ 22 h 45"/>
                <a:gd name="T12" fmla="*/ 552 w 574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4" h="45">
                  <a:moveTo>
                    <a:pt x="552" y="45"/>
                  </a:moveTo>
                  <a:cubicBezTo>
                    <a:pt x="22" y="45"/>
                    <a:pt x="22" y="45"/>
                    <a:pt x="22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552" y="0"/>
                    <a:pt x="552" y="0"/>
                    <a:pt x="552" y="0"/>
                  </a:cubicBezTo>
                  <a:cubicBezTo>
                    <a:pt x="564" y="0"/>
                    <a:pt x="574" y="10"/>
                    <a:pt x="574" y="22"/>
                  </a:cubicBezTo>
                  <a:cubicBezTo>
                    <a:pt x="574" y="35"/>
                    <a:pt x="564" y="45"/>
                    <a:pt x="552" y="45"/>
                  </a:cubicBezTo>
                  <a:close/>
                </a:path>
              </a:pathLst>
            </a:cu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îšļiḍé">
              <a:extLst>
                <a:ext uri="{FF2B5EF4-FFF2-40B4-BE49-F238E27FC236}">
                  <a16:creationId xmlns:a16="http://schemas.microsoft.com/office/drawing/2014/main" id="{8C93FE08-C1DB-4C63-A6F7-045825FBC507}"/>
                </a:ext>
              </a:extLst>
            </p:cNvPr>
            <p:cNvSpPr/>
            <p:nvPr userDrawn="1"/>
          </p:nvSpPr>
          <p:spPr bwMode="auto">
            <a:xfrm>
              <a:off x="6083300" y="4378325"/>
              <a:ext cx="755650" cy="1222375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í$ḷïḑe">
              <a:extLst>
                <a:ext uri="{FF2B5EF4-FFF2-40B4-BE49-F238E27FC236}">
                  <a16:creationId xmlns:a16="http://schemas.microsoft.com/office/drawing/2014/main" id="{268228F1-6F0B-4E91-AE44-C2016832ECA0}"/>
                </a:ext>
              </a:extLst>
            </p:cNvPr>
            <p:cNvSpPr/>
            <p:nvPr userDrawn="1"/>
          </p:nvSpPr>
          <p:spPr bwMode="auto">
            <a:xfrm>
              <a:off x="6334125" y="5600700"/>
              <a:ext cx="474663" cy="184150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ís1îḓe">
              <a:extLst>
                <a:ext uri="{FF2B5EF4-FFF2-40B4-BE49-F238E27FC236}">
                  <a16:creationId xmlns:a16="http://schemas.microsoft.com/office/drawing/2014/main" id="{1397C844-D6C2-4182-B960-D55C92040818}"/>
                </a:ext>
              </a:extLst>
            </p:cNvPr>
            <p:cNvSpPr/>
            <p:nvPr userDrawn="1"/>
          </p:nvSpPr>
          <p:spPr bwMode="auto">
            <a:xfrm>
              <a:off x="5353050" y="4378325"/>
              <a:ext cx="755650" cy="1222375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îsḷïdè">
              <a:extLst>
                <a:ext uri="{FF2B5EF4-FFF2-40B4-BE49-F238E27FC236}">
                  <a16:creationId xmlns:a16="http://schemas.microsoft.com/office/drawing/2014/main" id="{C1840427-BBE8-46E9-9A0F-1A164B34FF92}"/>
                </a:ext>
              </a:extLst>
            </p:cNvPr>
            <p:cNvSpPr/>
            <p:nvPr userDrawn="1"/>
          </p:nvSpPr>
          <p:spPr bwMode="auto">
            <a:xfrm>
              <a:off x="6083300" y="4651375"/>
              <a:ext cx="611188" cy="949325"/>
            </a:xfrm>
            <a:custGeom>
              <a:avLst/>
              <a:gdLst>
                <a:gd name="T0" fmla="*/ 112 w 166"/>
                <a:gd name="T1" fmla="*/ 258 h 258"/>
                <a:gd name="T2" fmla="*/ 113 w 166"/>
                <a:gd name="T3" fmla="*/ 255 h 258"/>
                <a:gd name="T4" fmla="*/ 137 w 166"/>
                <a:gd name="T5" fmla="*/ 130 h 258"/>
                <a:gd name="T6" fmla="*/ 160 w 166"/>
                <a:gd name="T7" fmla="*/ 37 h 258"/>
                <a:gd name="T8" fmla="*/ 164 w 166"/>
                <a:gd name="T9" fmla="*/ 18 h 258"/>
                <a:gd name="T10" fmla="*/ 164 w 166"/>
                <a:gd name="T11" fmla="*/ 12 h 258"/>
                <a:gd name="T12" fmla="*/ 165 w 166"/>
                <a:gd name="T13" fmla="*/ 2 h 258"/>
                <a:gd name="T14" fmla="*/ 166 w 166"/>
                <a:gd name="T15" fmla="*/ 0 h 258"/>
                <a:gd name="T16" fmla="*/ 0 w 166"/>
                <a:gd name="T17" fmla="*/ 0 h 258"/>
                <a:gd name="T18" fmla="*/ 0 w 166"/>
                <a:gd name="T19" fmla="*/ 28 h 258"/>
                <a:gd name="T20" fmla="*/ 104 w 166"/>
                <a:gd name="T21" fmla="*/ 28 h 258"/>
                <a:gd name="T22" fmla="*/ 68 w 166"/>
                <a:gd name="T23" fmla="*/ 258 h 258"/>
                <a:gd name="T24" fmla="*/ 112 w 166"/>
                <a:gd name="T25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258">
                  <a:moveTo>
                    <a:pt x="112" y="258"/>
                  </a:moveTo>
                  <a:cubicBezTo>
                    <a:pt x="112" y="257"/>
                    <a:pt x="112" y="256"/>
                    <a:pt x="113" y="255"/>
                  </a:cubicBezTo>
                  <a:cubicBezTo>
                    <a:pt x="121" y="227"/>
                    <a:pt x="129" y="159"/>
                    <a:pt x="137" y="130"/>
                  </a:cubicBezTo>
                  <a:cubicBezTo>
                    <a:pt x="146" y="99"/>
                    <a:pt x="154" y="69"/>
                    <a:pt x="160" y="37"/>
                  </a:cubicBezTo>
                  <a:cubicBezTo>
                    <a:pt x="161" y="31"/>
                    <a:pt x="162" y="24"/>
                    <a:pt x="164" y="18"/>
                  </a:cubicBezTo>
                  <a:cubicBezTo>
                    <a:pt x="164" y="15"/>
                    <a:pt x="164" y="13"/>
                    <a:pt x="164" y="12"/>
                  </a:cubicBezTo>
                  <a:cubicBezTo>
                    <a:pt x="165" y="9"/>
                    <a:pt x="165" y="5"/>
                    <a:pt x="165" y="2"/>
                  </a:cubicBezTo>
                  <a:cubicBezTo>
                    <a:pt x="166" y="1"/>
                    <a:pt x="166" y="1"/>
                    <a:pt x="1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68" y="258"/>
                    <a:pt x="68" y="258"/>
                    <a:pt x="68" y="258"/>
                  </a:cubicBezTo>
                  <a:cubicBezTo>
                    <a:pt x="112" y="258"/>
                    <a:pt x="112" y="258"/>
                    <a:pt x="112" y="258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işḷíďe">
              <a:extLst>
                <a:ext uri="{FF2B5EF4-FFF2-40B4-BE49-F238E27FC236}">
                  <a16:creationId xmlns:a16="http://schemas.microsoft.com/office/drawing/2014/main" id="{DF7F48BD-91E0-490D-B049-E7838B62C56D}"/>
                </a:ext>
              </a:extLst>
            </p:cNvPr>
            <p:cNvSpPr/>
            <p:nvPr userDrawn="1"/>
          </p:nvSpPr>
          <p:spPr bwMode="auto">
            <a:xfrm>
              <a:off x="5518150" y="4651375"/>
              <a:ext cx="590550" cy="949325"/>
            </a:xfrm>
            <a:custGeom>
              <a:avLst/>
              <a:gdLst>
                <a:gd name="T0" fmla="*/ 160 w 160"/>
                <a:gd name="T1" fmla="*/ 0 h 258"/>
                <a:gd name="T2" fmla="*/ 0 w 160"/>
                <a:gd name="T3" fmla="*/ 0 h 258"/>
                <a:gd name="T4" fmla="*/ 2 w 160"/>
                <a:gd name="T5" fmla="*/ 9 h 258"/>
                <a:gd name="T6" fmla="*/ 28 w 160"/>
                <a:gd name="T7" fmla="*/ 91 h 258"/>
                <a:gd name="T8" fmla="*/ 52 w 160"/>
                <a:gd name="T9" fmla="*/ 171 h 258"/>
                <a:gd name="T10" fmla="*/ 63 w 160"/>
                <a:gd name="T11" fmla="*/ 258 h 258"/>
                <a:gd name="T12" fmla="*/ 91 w 160"/>
                <a:gd name="T13" fmla="*/ 258 h 258"/>
                <a:gd name="T14" fmla="*/ 55 w 160"/>
                <a:gd name="T15" fmla="*/ 28 h 258"/>
                <a:gd name="T16" fmla="*/ 160 w 160"/>
                <a:gd name="T17" fmla="*/ 28 h 258"/>
                <a:gd name="T18" fmla="*/ 160 w 160"/>
                <a:gd name="T19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258">
                  <a:moveTo>
                    <a:pt x="1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2" y="9"/>
                  </a:cubicBezTo>
                  <a:cubicBezTo>
                    <a:pt x="9" y="37"/>
                    <a:pt x="19" y="64"/>
                    <a:pt x="28" y="91"/>
                  </a:cubicBezTo>
                  <a:cubicBezTo>
                    <a:pt x="36" y="117"/>
                    <a:pt x="46" y="144"/>
                    <a:pt x="52" y="171"/>
                  </a:cubicBezTo>
                  <a:cubicBezTo>
                    <a:pt x="56" y="186"/>
                    <a:pt x="59" y="242"/>
                    <a:pt x="63" y="258"/>
                  </a:cubicBezTo>
                  <a:cubicBezTo>
                    <a:pt x="91" y="258"/>
                    <a:pt x="91" y="258"/>
                    <a:pt x="91" y="25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0"/>
                    <a:pt x="160" y="0"/>
                    <a:pt x="160" y="0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ïṥļîdê">
              <a:extLst>
                <a:ext uri="{FF2B5EF4-FFF2-40B4-BE49-F238E27FC236}">
                  <a16:creationId xmlns:a16="http://schemas.microsoft.com/office/drawing/2014/main" id="{135D0D4C-D18D-4EA1-8E4B-F3F3E061127A}"/>
                </a:ext>
              </a:extLst>
            </p:cNvPr>
            <p:cNvSpPr/>
            <p:nvPr userDrawn="1"/>
          </p:nvSpPr>
          <p:spPr bwMode="auto">
            <a:xfrm>
              <a:off x="5634038" y="2728913"/>
              <a:ext cx="190500" cy="28416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isḻîḋè">
              <a:extLst>
                <a:ext uri="{FF2B5EF4-FFF2-40B4-BE49-F238E27FC236}">
                  <a16:creationId xmlns:a16="http://schemas.microsoft.com/office/drawing/2014/main" id="{711F711D-E110-421D-933F-4C10A1A62617}"/>
                </a:ext>
              </a:extLst>
            </p:cNvPr>
            <p:cNvSpPr/>
            <p:nvPr userDrawn="1"/>
          </p:nvSpPr>
          <p:spPr bwMode="auto">
            <a:xfrm>
              <a:off x="5676900" y="2798763"/>
              <a:ext cx="147638" cy="177800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íṥľïḓê">
              <a:extLst>
                <a:ext uri="{FF2B5EF4-FFF2-40B4-BE49-F238E27FC236}">
                  <a16:creationId xmlns:a16="http://schemas.microsoft.com/office/drawing/2014/main" id="{7070EA34-2784-4362-8DF0-EA6726DC0BD9}"/>
                </a:ext>
              </a:extLst>
            </p:cNvPr>
            <p:cNvSpPr/>
            <p:nvPr userDrawn="1"/>
          </p:nvSpPr>
          <p:spPr bwMode="auto">
            <a:xfrm>
              <a:off x="5707063" y="2803525"/>
              <a:ext cx="117475" cy="8096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íş1íḋê">
              <a:extLst>
                <a:ext uri="{FF2B5EF4-FFF2-40B4-BE49-F238E27FC236}">
                  <a16:creationId xmlns:a16="http://schemas.microsoft.com/office/drawing/2014/main" id="{491A23F2-4EB6-4B83-9630-37BEFCB7E628}"/>
                </a:ext>
              </a:extLst>
            </p:cNvPr>
            <p:cNvSpPr/>
            <p:nvPr userDrawn="1"/>
          </p:nvSpPr>
          <p:spPr bwMode="auto">
            <a:xfrm>
              <a:off x="6418263" y="2795588"/>
              <a:ext cx="214313" cy="287338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ṧḷíďè">
              <a:extLst>
                <a:ext uri="{FF2B5EF4-FFF2-40B4-BE49-F238E27FC236}">
                  <a16:creationId xmlns:a16="http://schemas.microsoft.com/office/drawing/2014/main" id="{322F4DD9-730D-4544-A7DE-3350831769B1}"/>
                </a:ext>
              </a:extLst>
            </p:cNvPr>
            <p:cNvSpPr/>
            <p:nvPr userDrawn="1"/>
          </p:nvSpPr>
          <p:spPr bwMode="auto">
            <a:xfrm>
              <a:off x="6418263" y="2865438"/>
              <a:ext cx="173038" cy="176213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ïşlíďe">
              <a:extLst>
                <a:ext uri="{FF2B5EF4-FFF2-40B4-BE49-F238E27FC236}">
                  <a16:creationId xmlns:a16="http://schemas.microsoft.com/office/drawing/2014/main" id="{1DB26175-BBC7-4751-8986-01AC218C0414}"/>
                </a:ext>
              </a:extLst>
            </p:cNvPr>
            <p:cNvSpPr/>
            <p:nvPr userDrawn="1"/>
          </p:nvSpPr>
          <p:spPr bwMode="auto">
            <a:xfrm>
              <a:off x="6434138" y="2873375"/>
              <a:ext cx="123825" cy="61913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íṧ1iḍé">
              <a:extLst>
                <a:ext uri="{FF2B5EF4-FFF2-40B4-BE49-F238E27FC236}">
                  <a16:creationId xmlns:a16="http://schemas.microsoft.com/office/drawing/2014/main" id="{39926ECE-6B6B-4858-B85D-CBDFEBE5E3E2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Sḷíḍé">
              <a:extLst>
                <a:ext uri="{FF2B5EF4-FFF2-40B4-BE49-F238E27FC236}">
                  <a16:creationId xmlns:a16="http://schemas.microsoft.com/office/drawing/2014/main" id="{543C7DE3-45FE-4694-A597-44516AF0D109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ï$lïďê">
              <a:extLst>
                <a:ext uri="{FF2B5EF4-FFF2-40B4-BE49-F238E27FC236}">
                  <a16:creationId xmlns:a16="http://schemas.microsoft.com/office/drawing/2014/main" id="{56903C60-43D1-41B4-A06B-5D4321B26180}"/>
                </a:ext>
              </a:extLst>
            </p:cNvPr>
            <p:cNvSpPr/>
            <p:nvPr userDrawn="1"/>
          </p:nvSpPr>
          <p:spPr bwMode="auto">
            <a:xfrm>
              <a:off x="6024563" y="3155950"/>
              <a:ext cx="176213" cy="88900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iṩlïḍe">
              <a:extLst>
                <a:ext uri="{FF2B5EF4-FFF2-40B4-BE49-F238E27FC236}">
                  <a16:creationId xmlns:a16="http://schemas.microsoft.com/office/drawing/2014/main" id="{58D298C8-779C-40AB-AEB2-79554B903AA5}"/>
                </a:ext>
              </a:extLst>
            </p:cNvPr>
            <p:cNvSpPr/>
            <p:nvPr userDrawn="1"/>
          </p:nvSpPr>
          <p:spPr bwMode="auto">
            <a:xfrm>
              <a:off x="5780088" y="2468563"/>
              <a:ext cx="723900" cy="784225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iš1íḓè">
              <a:extLst>
                <a:ext uri="{FF2B5EF4-FFF2-40B4-BE49-F238E27FC236}">
                  <a16:creationId xmlns:a16="http://schemas.microsoft.com/office/drawing/2014/main" id="{54D6F5CC-D071-4394-BC18-281B7DFF3181}"/>
                </a:ext>
              </a:extLst>
            </p:cNvPr>
            <p:cNvSpPr/>
            <p:nvPr userDrawn="1"/>
          </p:nvSpPr>
          <p:spPr bwMode="auto">
            <a:xfrm>
              <a:off x="5780088" y="2644775"/>
              <a:ext cx="4763" cy="103188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işļíḍê">
              <a:extLst>
                <a:ext uri="{FF2B5EF4-FFF2-40B4-BE49-F238E27FC236}">
                  <a16:creationId xmlns:a16="http://schemas.microsoft.com/office/drawing/2014/main" id="{3218969E-AA7B-40DC-8260-8CE831764568}"/>
                </a:ext>
              </a:extLst>
            </p:cNvPr>
            <p:cNvSpPr/>
            <p:nvPr userDrawn="1"/>
          </p:nvSpPr>
          <p:spPr bwMode="auto">
            <a:xfrm>
              <a:off x="5570538" y="2301875"/>
              <a:ext cx="1014413" cy="971550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ïṡļíḋe">
              <a:extLst>
                <a:ext uri="{FF2B5EF4-FFF2-40B4-BE49-F238E27FC236}">
                  <a16:creationId xmlns:a16="http://schemas.microsoft.com/office/drawing/2014/main" id="{C315C162-743C-4C8A-A730-B6F554292C8F}"/>
                </a:ext>
              </a:extLst>
            </p:cNvPr>
            <p:cNvSpPr/>
            <p:nvPr userDrawn="1"/>
          </p:nvSpPr>
          <p:spPr bwMode="auto">
            <a:xfrm>
              <a:off x="5676900" y="2189163"/>
              <a:ext cx="860425" cy="717550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işľiḍê">
              <a:extLst>
                <a:ext uri="{FF2B5EF4-FFF2-40B4-BE49-F238E27FC236}">
                  <a16:creationId xmlns:a16="http://schemas.microsoft.com/office/drawing/2014/main" id="{681D4D48-80AB-4D9A-81C9-D092F448528A}"/>
                </a:ext>
              </a:extLst>
            </p:cNvPr>
            <p:cNvSpPr/>
            <p:nvPr userDrawn="1"/>
          </p:nvSpPr>
          <p:spPr bwMode="auto">
            <a:xfrm>
              <a:off x="5411788" y="3370263"/>
              <a:ext cx="1390650" cy="784225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işḻíḍé">
              <a:extLst>
                <a:ext uri="{FF2B5EF4-FFF2-40B4-BE49-F238E27FC236}">
                  <a16:creationId xmlns:a16="http://schemas.microsoft.com/office/drawing/2014/main" id="{1ADB9D3C-96A2-46FB-A786-A013523138CA}"/>
                </a:ext>
              </a:extLst>
            </p:cNvPr>
            <p:cNvSpPr/>
            <p:nvPr userDrawn="1"/>
          </p:nvSpPr>
          <p:spPr bwMode="auto">
            <a:xfrm>
              <a:off x="5611813" y="3451225"/>
              <a:ext cx="1001713" cy="1181100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ïṣľïḓè">
              <a:extLst>
                <a:ext uri="{FF2B5EF4-FFF2-40B4-BE49-F238E27FC236}">
                  <a16:creationId xmlns:a16="http://schemas.microsoft.com/office/drawing/2014/main" id="{20762A78-0255-406C-BC46-61DC0D1674CB}"/>
                </a:ext>
              </a:extLst>
            </p:cNvPr>
            <p:cNvSpPr/>
            <p:nvPr userDrawn="1"/>
          </p:nvSpPr>
          <p:spPr bwMode="auto">
            <a:xfrm>
              <a:off x="5659438" y="3451225"/>
              <a:ext cx="906463" cy="1111250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îšlídè">
              <a:extLst>
                <a:ext uri="{FF2B5EF4-FFF2-40B4-BE49-F238E27FC236}">
                  <a16:creationId xmlns:a16="http://schemas.microsoft.com/office/drawing/2014/main" id="{26DA3A76-D916-4ACF-BB4B-09703FA851A3}"/>
                </a:ext>
              </a:extLst>
            </p:cNvPr>
            <p:cNvSpPr/>
            <p:nvPr userDrawn="1"/>
          </p:nvSpPr>
          <p:spPr bwMode="auto">
            <a:xfrm>
              <a:off x="5643563" y="2725738"/>
              <a:ext cx="908050" cy="588963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ïṩḷídé">
              <a:extLst>
                <a:ext uri="{FF2B5EF4-FFF2-40B4-BE49-F238E27FC236}">
                  <a16:creationId xmlns:a16="http://schemas.microsoft.com/office/drawing/2014/main" id="{A677A730-02C2-487B-8977-4809A9059ABE}"/>
                </a:ext>
              </a:extLst>
            </p:cNvPr>
            <p:cNvSpPr/>
            <p:nvPr userDrawn="1"/>
          </p:nvSpPr>
          <p:spPr bwMode="auto">
            <a:xfrm>
              <a:off x="5703888" y="2747963"/>
              <a:ext cx="792163" cy="515938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íŝliḓè">
              <a:extLst>
                <a:ext uri="{FF2B5EF4-FFF2-40B4-BE49-F238E27FC236}">
                  <a16:creationId xmlns:a16="http://schemas.microsoft.com/office/drawing/2014/main" id="{DD6D326A-2354-4C03-AB6B-49C16EF157C8}"/>
                </a:ext>
              </a:extLst>
            </p:cNvPr>
            <p:cNvSpPr/>
            <p:nvPr userDrawn="1"/>
          </p:nvSpPr>
          <p:spPr bwMode="auto">
            <a:xfrm>
              <a:off x="5508625" y="4651375"/>
              <a:ext cx="1171575" cy="274638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ïSľíḋê">
              <a:extLst>
                <a:ext uri="{FF2B5EF4-FFF2-40B4-BE49-F238E27FC236}">
                  <a16:creationId xmlns:a16="http://schemas.microsoft.com/office/drawing/2014/main" id="{40A34E5A-796D-4746-AB6A-658AAC78E751}"/>
                </a:ext>
              </a:extLst>
            </p:cNvPr>
            <p:cNvSpPr/>
            <p:nvPr userDrawn="1"/>
          </p:nvSpPr>
          <p:spPr bwMode="auto">
            <a:xfrm>
              <a:off x="5643563" y="4651375"/>
              <a:ext cx="896938" cy="69850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íšļiḑê">
              <a:extLst>
                <a:ext uri="{FF2B5EF4-FFF2-40B4-BE49-F238E27FC236}">
                  <a16:creationId xmlns:a16="http://schemas.microsoft.com/office/drawing/2014/main" id="{BF761B53-9819-4981-B06C-5F03C421569A}"/>
                </a:ext>
              </a:extLst>
            </p:cNvPr>
            <p:cNvSpPr/>
            <p:nvPr userDrawn="1"/>
          </p:nvSpPr>
          <p:spPr bwMode="auto">
            <a:xfrm>
              <a:off x="6035675" y="4926013"/>
              <a:ext cx="109538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îşļiḓè">
              <a:extLst>
                <a:ext uri="{FF2B5EF4-FFF2-40B4-BE49-F238E27FC236}">
                  <a16:creationId xmlns:a16="http://schemas.microsoft.com/office/drawing/2014/main" id="{75FEF938-8AAF-47B1-9CFA-F7B86EBBBE0C}"/>
                </a:ext>
              </a:extLst>
            </p:cNvPr>
            <p:cNvSpPr/>
            <p:nvPr userDrawn="1"/>
          </p:nvSpPr>
          <p:spPr bwMode="auto">
            <a:xfrm>
              <a:off x="5518150" y="4816475"/>
              <a:ext cx="1150938" cy="109538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ïṥḻïḋê">
              <a:extLst>
                <a:ext uri="{FF2B5EF4-FFF2-40B4-BE49-F238E27FC236}">
                  <a16:creationId xmlns:a16="http://schemas.microsoft.com/office/drawing/2014/main" id="{761C5328-12F1-4870-9D49-FC4F1FD7F95C}"/>
                </a:ext>
              </a:extLst>
            </p:cNvPr>
            <p:cNvSpPr/>
            <p:nvPr userDrawn="1"/>
          </p:nvSpPr>
          <p:spPr bwMode="auto">
            <a:xfrm>
              <a:off x="6005513" y="4116388"/>
              <a:ext cx="173038" cy="1495425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6" name="işḻíḓé">
              <a:extLst>
                <a:ext uri="{FF2B5EF4-FFF2-40B4-BE49-F238E27FC236}">
                  <a16:creationId xmlns:a16="http://schemas.microsoft.com/office/drawing/2014/main" id="{800FAB39-622F-44D6-8F88-A5A46160EC15}"/>
                </a:ext>
              </a:extLst>
            </p:cNvPr>
            <p:cNvSpPr/>
            <p:nvPr userDrawn="1"/>
          </p:nvSpPr>
          <p:spPr bwMode="auto">
            <a:xfrm>
              <a:off x="6030913" y="2868613"/>
              <a:ext cx="122238" cy="1270000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7" name="íṧḷidé">
              <a:extLst>
                <a:ext uri="{FF2B5EF4-FFF2-40B4-BE49-F238E27FC236}">
                  <a16:creationId xmlns:a16="http://schemas.microsoft.com/office/drawing/2014/main" id="{ABDDBA1D-771A-4AEA-A275-7714B58A5CDE}"/>
                </a:ext>
              </a:extLst>
            </p:cNvPr>
            <p:cNvSpPr/>
            <p:nvPr userDrawn="1"/>
          </p:nvSpPr>
          <p:spPr bwMode="auto">
            <a:xfrm>
              <a:off x="5383213" y="5600700"/>
              <a:ext cx="471488" cy="184150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8" name="i$ḷîde">
              <a:extLst>
                <a:ext uri="{FF2B5EF4-FFF2-40B4-BE49-F238E27FC236}">
                  <a16:creationId xmlns:a16="http://schemas.microsoft.com/office/drawing/2014/main" id="{9464BA44-5546-4BFF-81AB-C9EB3BBBDEC1}"/>
                </a:ext>
              </a:extLst>
            </p:cNvPr>
            <p:cNvSpPr/>
            <p:nvPr userDrawn="1"/>
          </p:nvSpPr>
          <p:spPr bwMode="auto">
            <a:xfrm>
              <a:off x="5268913" y="4138613"/>
              <a:ext cx="825500" cy="825500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9" name="ïşḻïḓe">
              <a:extLst>
                <a:ext uri="{FF2B5EF4-FFF2-40B4-BE49-F238E27FC236}">
                  <a16:creationId xmlns:a16="http://schemas.microsoft.com/office/drawing/2014/main" id="{1901A403-0731-4E76-92DF-03729A93EFB7}"/>
                </a:ext>
              </a:extLst>
            </p:cNvPr>
            <p:cNvSpPr/>
            <p:nvPr userDrawn="1"/>
          </p:nvSpPr>
          <p:spPr bwMode="auto">
            <a:xfrm>
              <a:off x="6119813" y="4138613"/>
              <a:ext cx="822325" cy="825500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0" name="iṩḻïdè">
              <a:extLst>
                <a:ext uri="{FF2B5EF4-FFF2-40B4-BE49-F238E27FC236}">
                  <a16:creationId xmlns:a16="http://schemas.microsoft.com/office/drawing/2014/main" id="{EF7DB912-9B49-41EB-B054-0F306C4A4812}"/>
                </a:ext>
              </a:extLst>
            </p:cNvPr>
            <p:cNvSpPr/>
            <p:nvPr userDrawn="1"/>
          </p:nvSpPr>
          <p:spPr bwMode="auto">
            <a:xfrm>
              <a:off x="5994400" y="5611813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1" name="íṧḻíḋe">
              <a:extLst>
                <a:ext uri="{FF2B5EF4-FFF2-40B4-BE49-F238E27FC236}">
                  <a16:creationId xmlns:a16="http://schemas.microsoft.com/office/drawing/2014/main" id="{33CCAEBA-612A-42AC-BA81-AE941F910FCA}"/>
                </a:ext>
              </a:extLst>
            </p:cNvPr>
            <p:cNvSpPr/>
            <p:nvPr userDrawn="1"/>
          </p:nvSpPr>
          <p:spPr bwMode="auto">
            <a:xfrm>
              <a:off x="5994400" y="4054475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2" name="ïş1ïḓê">
              <a:extLst>
                <a:ext uri="{FF2B5EF4-FFF2-40B4-BE49-F238E27FC236}">
                  <a16:creationId xmlns:a16="http://schemas.microsoft.com/office/drawing/2014/main" id="{5B972618-293F-4550-A1A5-6F1ADEBFF5CA}"/>
                </a:ext>
              </a:extLst>
            </p:cNvPr>
            <p:cNvSpPr/>
            <p:nvPr userDrawn="1"/>
          </p:nvSpPr>
          <p:spPr bwMode="auto">
            <a:xfrm>
              <a:off x="565943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3" name="iṥḷïdé">
              <a:extLst>
                <a:ext uri="{FF2B5EF4-FFF2-40B4-BE49-F238E27FC236}">
                  <a16:creationId xmlns:a16="http://schemas.microsoft.com/office/drawing/2014/main" id="{A33E5FAA-7EE3-4655-8B96-50B25FCD10FB}"/>
                </a:ext>
              </a:extLst>
            </p:cNvPr>
            <p:cNvSpPr/>
            <p:nvPr userDrawn="1"/>
          </p:nvSpPr>
          <p:spPr bwMode="auto">
            <a:xfrm>
              <a:off x="632618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4" name="îṩľîde">
              <a:extLst>
                <a:ext uri="{FF2B5EF4-FFF2-40B4-BE49-F238E27FC236}">
                  <a16:creationId xmlns:a16="http://schemas.microsoft.com/office/drawing/2014/main" id="{79DA4745-2D3A-467A-ADB1-48DE97A435A2}"/>
                </a:ext>
              </a:extLst>
            </p:cNvPr>
            <p:cNvSpPr/>
            <p:nvPr userDrawn="1"/>
          </p:nvSpPr>
          <p:spPr bwMode="auto">
            <a:xfrm>
              <a:off x="5788025" y="5600700"/>
              <a:ext cx="612775" cy="6985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487784" y="4225335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87784" y="3929064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87785" y="1189668"/>
            <a:ext cx="4470400" cy="226377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77154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 bwMode="white">
          <a:xfrm>
            <a:off x="0" y="5971032"/>
            <a:ext cx="12192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-12192" y="6053328"/>
            <a:ext cx="2999232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3145536" y="6044184"/>
            <a:ext cx="9046464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標題 7"/>
          <p:cNvSpPr>
            <a:spLocks noGrp="1"/>
          </p:cNvSpPr>
          <p:nvPr>
            <p:ph type="ctrTitle"/>
          </p:nvPr>
        </p:nvSpPr>
        <p:spPr>
          <a:xfrm>
            <a:off x="3149600" y="4038600"/>
            <a:ext cx="8636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9" name="副標題 8"/>
          <p:cNvSpPr>
            <a:spLocks noGrp="1"/>
          </p:cNvSpPr>
          <p:nvPr>
            <p:ph type="subTitle" idx="1"/>
          </p:nvPr>
        </p:nvSpPr>
        <p:spPr>
          <a:xfrm>
            <a:off x="3149600" y="6050037"/>
            <a:ext cx="89408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zh-TW" altLang="en-US"/>
              <a:t>按一下以編輯母片副標題樣式</a:t>
            </a:r>
            <a:endParaRPr kumimoji="0" lang="en-US"/>
          </a:p>
        </p:txBody>
      </p:sp>
      <p:sp>
        <p:nvSpPr>
          <p:cNvPr id="28" name="日期版面配置區 27"/>
          <p:cNvSpPr>
            <a:spLocks noGrp="1"/>
          </p:cNvSpPr>
          <p:nvPr>
            <p:ph type="dt" sz="half" idx="10"/>
          </p:nvPr>
        </p:nvSpPr>
        <p:spPr>
          <a:xfrm>
            <a:off x="101600" y="6068699"/>
            <a:ext cx="27432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fld id="{B5EBA558-07F9-4255-BA37-F47DCA9FDA64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17" name="頁尾版面配置區 16"/>
          <p:cNvSpPr>
            <a:spLocks noGrp="1"/>
          </p:cNvSpPr>
          <p:nvPr>
            <p:ph type="ftr" sz="quarter" idx="11"/>
          </p:nvPr>
        </p:nvSpPr>
        <p:spPr>
          <a:xfrm>
            <a:off x="2780524" y="236539"/>
            <a:ext cx="782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29" name="投影片編號版面配置區 28"/>
          <p:cNvSpPr>
            <a:spLocks noGrp="1"/>
          </p:cNvSpPr>
          <p:nvPr>
            <p:ph type="sldNum" sz="quarter" idx="12"/>
          </p:nvPr>
        </p:nvSpPr>
        <p:spPr>
          <a:xfrm>
            <a:off x="10668000" y="228600"/>
            <a:ext cx="11176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53131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16864" y="228600"/>
            <a:ext cx="10871200" cy="990600"/>
          </a:xfrm>
        </p:spPr>
        <p:txBody>
          <a:bodyPr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40CE6-D919-4C3E-A2AA-5BBC8A33722C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8" name="內容版面配置區 7"/>
          <p:cNvSpPr>
            <a:spLocks noGrp="1"/>
          </p:cNvSpPr>
          <p:nvPr>
            <p:ph sz="quarter" idx="1"/>
          </p:nvPr>
        </p:nvSpPr>
        <p:spPr>
          <a:xfrm>
            <a:off x="816864" y="1600200"/>
            <a:ext cx="10871200" cy="44958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32018512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章節標題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1828801" y="2743200"/>
            <a:ext cx="9497484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zh-TW" altLang="en-US"/>
              <a:t>按一下以編輯母片文字樣式</a:t>
            </a:r>
          </a:p>
        </p:txBody>
      </p:sp>
      <p:sp>
        <p:nvSpPr>
          <p:cNvPr id="7" name="矩形 6"/>
          <p:cNvSpPr/>
          <p:nvPr/>
        </p:nvSpPr>
        <p:spPr bwMode="white">
          <a:xfrm>
            <a:off x="0" y="1524000"/>
            <a:ext cx="12192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600200"/>
            <a:ext cx="17272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828800" y="1600200"/>
            <a:ext cx="103632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828800" y="1600200"/>
            <a:ext cx="1016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12" name="日期版面配置區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49036-72FA-4225-BD05-3F2000734170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13" name="投影片編號版面配置區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7272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911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9" name="內容版面配置區 8"/>
          <p:cNvSpPr>
            <a:spLocks noGrp="1"/>
          </p:cNvSpPr>
          <p:nvPr>
            <p:ph sz="quarter" idx="1"/>
          </p:nvPr>
        </p:nvSpPr>
        <p:spPr>
          <a:xfrm>
            <a:off x="812800" y="1589567"/>
            <a:ext cx="5181600" cy="4572000"/>
          </a:xfrm>
        </p:spPr>
        <p:txBody>
          <a:bodyPr/>
          <a:lstStyle>
            <a:lvl1pPr marL="320040" indent="-320040">
              <a:buFont typeface="Wingdings" panose="05000000000000000000" pitchFamily="2" charset="2"/>
              <a:buChar char="l"/>
              <a:defRPr/>
            </a:lvl1pPr>
            <a:lvl2pPr marL="640080" indent="-274320">
              <a:buFont typeface="Wingdings" panose="05000000000000000000" pitchFamily="2" charset="2"/>
              <a:buChar char="l"/>
              <a:defRPr/>
            </a:lvl2pPr>
            <a:lvl3pPr marL="914400" indent="-228600">
              <a:buFont typeface="Wingdings" panose="05000000000000000000" pitchFamily="2" charset="2"/>
              <a:buChar char="l"/>
              <a:defRPr/>
            </a:lvl3pPr>
            <a:lvl4pPr marL="1371600" indent="-228600">
              <a:buFont typeface="Wingdings" panose="05000000000000000000" pitchFamily="2" charset="2"/>
              <a:buChar char="l"/>
              <a:defRPr/>
            </a:lvl4pPr>
            <a:lvl5pPr marL="1828800" indent="-228600">
              <a:buFont typeface="Wingdings" panose="05000000000000000000" pitchFamily="2" charset="2"/>
              <a:buChar char="l"/>
              <a:defRPr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11" name="內容版面配置區 10"/>
          <p:cNvSpPr>
            <a:spLocks noGrp="1"/>
          </p:cNvSpPr>
          <p:nvPr>
            <p:ph sz="quarter" idx="2"/>
          </p:nvPr>
        </p:nvSpPr>
        <p:spPr>
          <a:xfrm>
            <a:off x="6459868" y="1589567"/>
            <a:ext cx="5181600" cy="4572000"/>
          </a:xfrm>
        </p:spPr>
        <p:txBody>
          <a:bodyPr/>
          <a:lstStyle>
            <a:lvl1pPr marL="320040" indent="-320040">
              <a:buFont typeface="Wingdings" panose="05000000000000000000" pitchFamily="2" charset="2"/>
              <a:buChar char="l"/>
              <a:defRPr/>
            </a:lvl1pPr>
            <a:lvl2pPr marL="640080" indent="-274320">
              <a:buFont typeface="Wingdings" panose="05000000000000000000" pitchFamily="2" charset="2"/>
              <a:buChar char="l"/>
              <a:defRPr/>
            </a:lvl2pPr>
            <a:lvl3pPr marL="914400" indent="-228600">
              <a:buFont typeface="Wingdings" panose="05000000000000000000" pitchFamily="2" charset="2"/>
              <a:buChar char="l"/>
              <a:defRPr/>
            </a:lvl3pPr>
            <a:lvl4pPr marL="1371600" indent="-228600">
              <a:buFont typeface="Wingdings" panose="05000000000000000000" pitchFamily="2" charset="2"/>
              <a:buChar char="l"/>
              <a:defRPr/>
            </a:lvl4pPr>
            <a:lvl5pPr marL="1828800" indent="-228600">
              <a:buFont typeface="Wingdings" panose="05000000000000000000" pitchFamily="2" charset="2"/>
              <a:buChar char="l"/>
              <a:defRPr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3F2153AC-58B4-40E8-9277-A42E737D8EA7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10" name="投影片編號版面配置區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2" name="頁尾版面配置區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080128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11" name="內容版面配置區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13" name="內容版面配置區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10" name="日期版面配置區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08E04111-6B98-4176-A24A-3D36E83AF803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12" name="投影片編號版面配置區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zh-TW" altLang="en-US"/>
          </a:p>
        </p:txBody>
      </p:sp>
      <p:sp>
        <p:nvSpPr>
          <p:cNvPr id="16" name="文字版面配置區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zh-TW" altLang="en-US" dirty="0"/>
              <a:t>按一下以編輯母片文字樣式</a:t>
            </a:r>
          </a:p>
        </p:txBody>
      </p:sp>
      <p:sp>
        <p:nvSpPr>
          <p:cNvPr id="15" name="文字版面配置區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zh-TW" altLang="en-US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14114899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E457D"/>
                </a:solidFill>
              </a:defRPr>
            </a:lvl1pPr>
          </a:lstStyle>
          <a:p>
            <a:r>
              <a:rPr kumimoji="0" lang="zh-TW" altLang="en-US" dirty="0"/>
              <a:t>按一下以編輯母片標題樣式</a:t>
            </a:r>
            <a:endParaRPr kumimoji="0" lang="en-US" dirty="0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23923-BD85-414E-96BB-71FAA6A68C81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940447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D7BB0-1597-4F0C-B686-1F625CAFE9F4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711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432359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12800" y="273050"/>
            <a:ext cx="10769600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8910D-D0A2-440D-BC68-C380B6CD720A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2"/>
          </p:nvPr>
        </p:nvSpPr>
        <p:spPr>
          <a:xfrm>
            <a:off x="812800" y="1752600"/>
            <a:ext cx="21336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>
                <a:latin typeface="Arial" panose="020B0604020202020204" pitchFamily="34" charset="0"/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zh-TW" altLang="en-US" dirty="0"/>
              <a:t>按一下以編輯母片文字樣式</a:t>
            </a:r>
          </a:p>
        </p:txBody>
      </p:sp>
      <p:sp>
        <p:nvSpPr>
          <p:cNvPr id="9" name="內容版面配置區 8"/>
          <p:cNvSpPr>
            <a:spLocks noGrp="1"/>
          </p:cNvSpPr>
          <p:nvPr>
            <p:ph sz="quarter" idx="1"/>
          </p:nvPr>
        </p:nvSpPr>
        <p:spPr>
          <a:xfrm>
            <a:off x="3149600" y="1752600"/>
            <a:ext cx="8534400" cy="4419600"/>
          </a:xfrm>
        </p:spPr>
        <p:txBody>
          <a:bodyPr/>
          <a:lstStyle/>
          <a:p>
            <a:pPr lvl="0" eaLnBrk="1" latinLnBrk="0" hangingPunct="1"/>
            <a:r>
              <a:rPr lang="zh-TW" altLang="en-US"/>
              <a:t>按一下以編輯母片文字樣式</a:t>
            </a:r>
          </a:p>
          <a:p>
            <a:pPr lvl="1" eaLnBrk="1" latinLnBrk="0" hangingPunct="1"/>
            <a:r>
              <a:rPr lang="zh-TW" altLang="en-US"/>
              <a:t>第二層</a:t>
            </a:r>
          </a:p>
          <a:p>
            <a:pPr lvl="2" eaLnBrk="1" latinLnBrk="0" hangingPunct="1"/>
            <a:r>
              <a:rPr lang="zh-TW" altLang="en-US"/>
              <a:t>第三層</a:t>
            </a:r>
          </a:p>
          <a:p>
            <a:pPr lvl="3" eaLnBrk="1" latinLnBrk="0" hangingPunct="1"/>
            <a:r>
              <a:rPr lang="zh-TW" altLang="en-US"/>
              <a:t>第四層</a:t>
            </a:r>
          </a:p>
          <a:p>
            <a:pPr lvl="4" eaLnBrk="1" latinLnBrk="0" hangingPunct="1"/>
            <a:r>
              <a:rPr lang="zh-TW" altLang="en-US"/>
              <a:t>第五層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4005893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含標題的圖片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2133600" y="5486400"/>
            <a:ext cx="97536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zh-TW" altLang="en-US"/>
              <a:t>按一下以編輯母片文字樣式</a:t>
            </a:r>
          </a:p>
        </p:txBody>
      </p:sp>
      <p:sp>
        <p:nvSpPr>
          <p:cNvPr id="8" name="矩形 7"/>
          <p:cNvSpPr/>
          <p:nvPr/>
        </p:nvSpPr>
        <p:spPr bwMode="white">
          <a:xfrm>
            <a:off x="-12192" y="4572000"/>
            <a:ext cx="12192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-12192" y="4663440"/>
            <a:ext cx="1950720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060448" y="4654296"/>
            <a:ext cx="10131552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133600" y="4648200"/>
            <a:ext cx="97536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11" name="矩形 10"/>
          <p:cNvSpPr/>
          <p:nvPr/>
        </p:nvSpPr>
        <p:spPr bwMode="white">
          <a:xfrm>
            <a:off x="1930400" y="0"/>
            <a:ext cx="134112" cy="686714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2" name="日期版面配置區 11"/>
          <p:cNvSpPr>
            <a:spLocks noGrp="1"/>
          </p:cNvSpPr>
          <p:nvPr>
            <p:ph type="dt" sz="half" idx="10"/>
          </p:nvPr>
        </p:nvSpPr>
        <p:spPr>
          <a:xfrm>
            <a:off x="8331200" y="6248401"/>
            <a:ext cx="3556000" cy="365125"/>
          </a:xfrm>
        </p:spPr>
        <p:txBody>
          <a:bodyPr rtlCol="0"/>
          <a:lstStyle/>
          <a:p>
            <a:fld id="{A0CC60CC-E679-466B-996C-6EE6FF2CBC6B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13" name="投影片編號版面配置區 12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930400" cy="663578"/>
          </a:xfrm>
        </p:spPr>
        <p:txBody>
          <a:bodyPr rtlCol="0"/>
          <a:lstStyle>
            <a:lvl1pPr>
              <a:defRPr sz="2800"/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2"/>
          </p:nvPr>
        </p:nvSpPr>
        <p:spPr>
          <a:xfrm>
            <a:off x="2133600" y="6248207"/>
            <a:ext cx="6096000" cy="365125"/>
          </a:xfrm>
        </p:spPr>
        <p:txBody>
          <a:bodyPr rtlCol="0"/>
          <a:lstStyle/>
          <a:p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2080768" y="0"/>
            <a:ext cx="10111232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zh-TW" altLang="en-US"/>
              <a:t>按一下圖示以新增圖片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2943810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TW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TW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64C0B4-EC1E-4FC9-B104-936E49C44DDA}" type="slidenum">
              <a:rPr lang="zh-TW" altLang="en-US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44244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zh-TW" altLang="en-US"/>
              <a:t>按一下以編輯母片文字樣式</a:t>
            </a:r>
          </a:p>
          <a:p>
            <a:pPr lvl="1" eaLnBrk="1" latinLnBrk="0" hangingPunct="1"/>
            <a:r>
              <a:rPr lang="zh-TW" altLang="en-US"/>
              <a:t>第二層</a:t>
            </a:r>
          </a:p>
          <a:p>
            <a:pPr lvl="2" eaLnBrk="1" latinLnBrk="0" hangingPunct="1"/>
            <a:r>
              <a:rPr lang="zh-TW" altLang="en-US"/>
              <a:t>第三層</a:t>
            </a:r>
          </a:p>
          <a:p>
            <a:pPr lvl="3" eaLnBrk="1" latinLnBrk="0" hangingPunct="1"/>
            <a:r>
              <a:rPr lang="zh-TW" altLang="en-US"/>
              <a:t>第四層</a:t>
            </a:r>
          </a:p>
          <a:p>
            <a:pPr lvl="4" eaLnBrk="1" latinLnBrk="0" hangingPunct="1"/>
            <a:r>
              <a:rPr lang="zh-TW" altLang="en-US"/>
              <a:t>第五層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637C-EACD-4536-AEC8-470B273D54EC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799860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直排標題及文字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8737600" y="609601"/>
            <a:ext cx="2743200" cy="5516563"/>
          </a:xfrm>
        </p:spPr>
        <p:txBody>
          <a:bodyPr vert="eaVert"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609600" y="609600"/>
            <a:ext cx="7416800" cy="5516564"/>
          </a:xfrm>
        </p:spPr>
        <p:txBody>
          <a:bodyPr vert="eaVert"/>
          <a:lstStyle/>
          <a:p>
            <a:pPr lvl="0" eaLnBrk="1" latinLnBrk="0" hangingPunct="1"/>
            <a:r>
              <a:rPr lang="zh-TW" altLang="en-US"/>
              <a:t>按一下以編輯母片文字樣式</a:t>
            </a:r>
          </a:p>
          <a:p>
            <a:pPr lvl="1" eaLnBrk="1" latinLnBrk="0" hangingPunct="1"/>
            <a:r>
              <a:rPr lang="zh-TW" altLang="en-US"/>
              <a:t>第二層</a:t>
            </a:r>
          </a:p>
          <a:p>
            <a:pPr lvl="2" eaLnBrk="1" latinLnBrk="0" hangingPunct="1"/>
            <a:r>
              <a:rPr lang="zh-TW" altLang="en-US"/>
              <a:t>第三層</a:t>
            </a:r>
          </a:p>
          <a:p>
            <a:pPr lvl="3" eaLnBrk="1" latinLnBrk="0" hangingPunct="1"/>
            <a:r>
              <a:rPr lang="zh-TW" altLang="en-US"/>
              <a:t>第四層</a:t>
            </a:r>
          </a:p>
          <a:p>
            <a:pPr lvl="4" eaLnBrk="1" latinLnBrk="0" hangingPunct="1"/>
            <a:r>
              <a:rPr lang="zh-TW" altLang="en-US"/>
              <a:t>第五層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8737600" y="6248403"/>
            <a:ext cx="2946400" cy="365125"/>
          </a:xfrm>
        </p:spPr>
        <p:txBody>
          <a:bodyPr/>
          <a:lstStyle/>
          <a:p>
            <a:fld id="{DD431DFD-C98C-4C03-9A08-F2C4BC5C3AD2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609602" y="6248208"/>
            <a:ext cx="7431311" cy="365125"/>
          </a:xfrm>
        </p:spPr>
        <p:txBody>
          <a:bodyPr/>
          <a:lstStyle/>
          <a:p>
            <a:endParaRPr lang="zh-TW" altLang="en-US"/>
          </a:p>
        </p:txBody>
      </p:sp>
      <p:sp>
        <p:nvSpPr>
          <p:cNvPr id="7" name="矩形 6"/>
          <p:cNvSpPr/>
          <p:nvPr/>
        </p:nvSpPr>
        <p:spPr bwMode="white">
          <a:xfrm>
            <a:off x="8128424" y="0"/>
            <a:ext cx="42672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8189384" y="609600"/>
            <a:ext cx="3048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189384" y="0"/>
            <a:ext cx="3048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 rot="5400000">
            <a:off x="8075084" y="103716"/>
            <a:ext cx="533400" cy="325968"/>
          </a:xfrm>
        </p:spPr>
        <p:txBody>
          <a:bodyPr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7434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 bwMode="white">
          <a:xfrm>
            <a:off x="0" y="5971032"/>
            <a:ext cx="12192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-12192" y="6053328"/>
            <a:ext cx="2999232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3145536" y="6044184"/>
            <a:ext cx="9046464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標題 7"/>
          <p:cNvSpPr>
            <a:spLocks noGrp="1"/>
          </p:cNvSpPr>
          <p:nvPr>
            <p:ph type="ctrTitle"/>
          </p:nvPr>
        </p:nvSpPr>
        <p:spPr>
          <a:xfrm>
            <a:off x="3149600" y="4038600"/>
            <a:ext cx="8636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9" name="副標題 8"/>
          <p:cNvSpPr>
            <a:spLocks noGrp="1"/>
          </p:cNvSpPr>
          <p:nvPr>
            <p:ph type="subTitle" idx="1"/>
          </p:nvPr>
        </p:nvSpPr>
        <p:spPr>
          <a:xfrm>
            <a:off x="3149600" y="6050037"/>
            <a:ext cx="89408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zh-TW" altLang="en-US"/>
              <a:t>按一下以編輯母片副標題樣式</a:t>
            </a:r>
            <a:endParaRPr kumimoji="0" lang="en-US"/>
          </a:p>
        </p:txBody>
      </p:sp>
      <p:sp>
        <p:nvSpPr>
          <p:cNvPr id="28" name="日期版面配置區 27"/>
          <p:cNvSpPr>
            <a:spLocks noGrp="1"/>
          </p:cNvSpPr>
          <p:nvPr>
            <p:ph type="dt" sz="half" idx="10"/>
          </p:nvPr>
        </p:nvSpPr>
        <p:spPr>
          <a:xfrm>
            <a:off x="101600" y="6068699"/>
            <a:ext cx="27432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fld id="{B5EBA558-07F9-4255-BA37-F47DCA9FDA64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17" name="頁尾版面配置區 16"/>
          <p:cNvSpPr>
            <a:spLocks noGrp="1"/>
          </p:cNvSpPr>
          <p:nvPr>
            <p:ph type="ftr" sz="quarter" idx="11"/>
          </p:nvPr>
        </p:nvSpPr>
        <p:spPr>
          <a:xfrm>
            <a:off x="2780524" y="236539"/>
            <a:ext cx="782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29" name="投影片編號版面配置區 28"/>
          <p:cNvSpPr>
            <a:spLocks noGrp="1"/>
          </p:cNvSpPr>
          <p:nvPr>
            <p:ph type="sldNum" sz="quarter" idx="12"/>
          </p:nvPr>
        </p:nvSpPr>
        <p:spPr>
          <a:xfrm>
            <a:off x="10668000" y="228600"/>
            <a:ext cx="11176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354651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16864" y="228600"/>
            <a:ext cx="10871200" cy="990600"/>
          </a:xfrm>
        </p:spPr>
        <p:txBody>
          <a:bodyPr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40CE6-D919-4C3E-A2AA-5BBC8A33722C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8" name="內容版面配置區 7"/>
          <p:cNvSpPr>
            <a:spLocks noGrp="1"/>
          </p:cNvSpPr>
          <p:nvPr>
            <p:ph sz="quarter" idx="1"/>
          </p:nvPr>
        </p:nvSpPr>
        <p:spPr>
          <a:xfrm>
            <a:off x="816864" y="1600200"/>
            <a:ext cx="10871200" cy="44958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6912207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章節標題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1828801" y="2743200"/>
            <a:ext cx="9497484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zh-TW" altLang="en-US"/>
              <a:t>按一下以編輯母片文字樣式</a:t>
            </a:r>
          </a:p>
        </p:txBody>
      </p:sp>
      <p:sp>
        <p:nvSpPr>
          <p:cNvPr id="7" name="矩形 6"/>
          <p:cNvSpPr/>
          <p:nvPr/>
        </p:nvSpPr>
        <p:spPr bwMode="white">
          <a:xfrm>
            <a:off x="0" y="1524000"/>
            <a:ext cx="12192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600200"/>
            <a:ext cx="17272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828800" y="1600200"/>
            <a:ext cx="103632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828800" y="1600200"/>
            <a:ext cx="1016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12" name="日期版面配置區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49036-72FA-4225-BD05-3F2000734170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13" name="投影片編號版面配置區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7272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41173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9" name="內容版面配置區 8"/>
          <p:cNvSpPr>
            <a:spLocks noGrp="1"/>
          </p:cNvSpPr>
          <p:nvPr>
            <p:ph sz="quarter" idx="1"/>
          </p:nvPr>
        </p:nvSpPr>
        <p:spPr>
          <a:xfrm>
            <a:off x="812800" y="1589567"/>
            <a:ext cx="5181600" cy="4572000"/>
          </a:xfrm>
        </p:spPr>
        <p:txBody>
          <a:bodyPr/>
          <a:lstStyle>
            <a:lvl1pPr marL="320040" indent="-320040">
              <a:buFont typeface="Wingdings" panose="05000000000000000000" pitchFamily="2" charset="2"/>
              <a:buChar char="l"/>
              <a:defRPr/>
            </a:lvl1pPr>
            <a:lvl2pPr marL="640080" indent="-274320">
              <a:buFont typeface="Wingdings" panose="05000000000000000000" pitchFamily="2" charset="2"/>
              <a:buChar char="l"/>
              <a:defRPr/>
            </a:lvl2pPr>
            <a:lvl3pPr marL="914400" indent="-228600">
              <a:buFont typeface="Wingdings" panose="05000000000000000000" pitchFamily="2" charset="2"/>
              <a:buChar char="l"/>
              <a:defRPr/>
            </a:lvl3pPr>
            <a:lvl4pPr marL="1371600" indent="-228600">
              <a:buFont typeface="Wingdings" panose="05000000000000000000" pitchFamily="2" charset="2"/>
              <a:buChar char="l"/>
              <a:defRPr/>
            </a:lvl4pPr>
            <a:lvl5pPr marL="1828800" indent="-228600">
              <a:buFont typeface="Wingdings" panose="05000000000000000000" pitchFamily="2" charset="2"/>
              <a:buChar char="l"/>
              <a:defRPr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11" name="內容版面配置區 10"/>
          <p:cNvSpPr>
            <a:spLocks noGrp="1"/>
          </p:cNvSpPr>
          <p:nvPr>
            <p:ph sz="quarter" idx="2"/>
          </p:nvPr>
        </p:nvSpPr>
        <p:spPr>
          <a:xfrm>
            <a:off x="6459868" y="1589567"/>
            <a:ext cx="5181600" cy="4572000"/>
          </a:xfrm>
        </p:spPr>
        <p:txBody>
          <a:bodyPr/>
          <a:lstStyle>
            <a:lvl1pPr marL="320040" indent="-320040">
              <a:buFont typeface="Wingdings" panose="05000000000000000000" pitchFamily="2" charset="2"/>
              <a:buChar char="l"/>
              <a:defRPr/>
            </a:lvl1pPr>
            <a:lvl2pPr marL="640080" indent="-274320">
              <a:buFont typeface="Wingdings" panose="05000000000000000000" pitchFamily="2" charset="2"/>
              <a:buChar char="l"/>
              <a:defRPr/>
            </a:lvl2pPr>
            <a:lvl3pPr marL="914400" indent="-228600">
              <a:buFont typeface="Wingdings" panose="05000000000000000000" pitchFamily="2" charset="2"/>
              <a:buChar char="l"/>
              <a:defRPr/>
            </a:lvl3pPr>
            <a:lvl4pPr marL="1371600" indent="-228600">
              <a:buFont typeface="Wingdings" panose="05000000000000000000" pitchFamily="2" charset="2"/>
              <a:buChar char="l"/>
              <a:defRPr/>
            </a:lvl4pPr>
            <a:lvl5pPr marL="1828800" indent="-228600">
              <a:buFont typeface="Wingdings" panose="05000000000000000000" pitchFamily="2" charset="2"/>
              <a:buChar char="l"/>
              <a:defRPr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3F2153AC-58B4-40E8-9277-A42E737D8EA7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10" name="投影片編號版面配置區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2" name="頁尾版面配置區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30386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11" name="內容版面配置區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13" name="內容版面配置區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10" name="日期版面配置區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08E04111-6B98-4176-A24A-3D36E83AF803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12" name="投影片編號版面配置區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zh-TW" altLang="en-US"/>
          </a:p>
        </p:txBody>
      </p:sp>
      <p:sp>
        <p:nvSpPr>
          <p:cNvPr id="16" name="文字版面配置區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zh-TW" altLang="en-US" dirty="0"/>
              <a:t>按一下以編輯母片文字樣式</a:t>
            </a:r>
          </a:p>
        </p:txBody>
      </p:sp>
      <p:sp>
        <p:nvSpPr>
          <p:cNvPr id="15" name="文字版面配置區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zh-TW" altLang="en-US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26398632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E457D"/>
                </a:solidFill>
              </a:defRPr>
            </a:lvl1pPr>
          </a:lstStyle>
          <a:p>
            <a:r>
              <a:rPr kumimoji="0" lang="zh-TW" altLang="en-US" dirty="0"/>
              <a:t>按一下以編輯母片標題樣式</a:t>
            </a:r>
            <a:endParaRPr kumimoji="0" lang="en-US" dirty="0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23923-BD85-414E-96BB-71FAA6A68C81}" type="datetime1">
              <a:rPr lang="zh-TW" altLang="en-US" smtClean="0"/>
              <a:t>2021/12/21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4496403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12/21</a:t>
            </a:fld>
            <a:endParaRPr lang="zh-CN" altLang="en-US" dirty="0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96371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22" r:id="rId3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標題版面配置區 21"/>
          <p:cNvSpPr>
            <a:spLocks noGrp="1"/>
          </p:cNvSpPr>
          <p:nvPr>
            <p:ph type="title"/>
          </p:nvPr>
        </p:nvSpPr>
        <p:spPr>
          <a:xfrm>
            <a:off x="812800" y="228600"/>
            <a:ext cx="10871200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zh-TW" altLang="en-US" dirty="0"/>
              <a:t>按一下以編輯母片標題樣式</a:t>
            </a:r>
            <a:endParaRPr kumimoji="0" lang="en-US" dirty="0"/>
          </a:p>
        </p:txBody>
      </p:sp>
      <p:sp>
        <p:nvSpPr>
          <p:cNvPr id="13" name="文字版面配置區 12"/>
          <p:cNvSpPr>
            <a:spLocks noGrp="1"/>
          </p:cNvSpPr>
          <p:nvPr>
            <p:ph type="body" idx="1"/>
          </p:nvPr>
        </p:nvSpPr>
        <p:spPr>
          <a:xfrm>
            <a:off x="816864" y="1600200"/>
            <a:ext cx="10871200" cy="452628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zh-TW" altLang="en-US" dirty="0"/>
              <a:t>按一下以編輯母片文字樣式</a:t>
            </a:r>
          </a:p>
          <a:p>
            <a:pPr lvl="1" eaLnBrk="1" latinLnBrk="0" hangingPunct="1"/>
            <a:r>
              <a:rPr kumimoji="0" lang="zh-TW" altLang="en-US" dirty="0"/>
              <a:t>第二層</a:t>
            </a:r>
          </a:p>
          <a:p>
            <a:pPr lvl="2" eaLnBrk="1" latinLnBrk="0" hangingPunct="1"/>
            <a:r>
              <a:rPr kumimoji="0" lang="zh-TW" altLang="en-US" dirty="0"/>
              <a:t>第三層</a:t>
            </a:r>
          </a:p>
          <a:p>
            <a:pPr lvl="3" eaLnBrk="1" latinLnBrk="0" hangingPunct="1"/>
            <a:r>
              <a:rPr kumimoji="0" lang="zh-TW" altLang="en-US" dirty="0"/>
              <a:t>第四層</a:t>
            </a:r>
          </a:p>
          <a:p>
            <a:pPr lvl="4" eaLnBrk="1" latinLnBrk="0" hangingPunct="1"/>
            <a:r>
              <a:rPr kumimoji="0" lang="zh-TW" altLang="en-US" dirty="0"/>
              <a:t>第五層</a:t>
            </a:r>
            <a:endParaRPr kumimoji="0" lang="en-US" dirty="0"/>
          </a:p>
        </p:txBody>
      </p:sp>
      <p:sp>
        <p:nvSpPr>
          <p:cNvPr id="14" name="日期版面配置區 13"/>
          <p:cNvSpPr>
            <a:spLocks noGrp="1"/>
          </p:cNvSpPr>
          <p:nvPr>
            <p:ph type="dt" sz="half" idx="2"/>
          </p:nvPr>
        </p:nvSpPr>
        <p:spPr>
          <a:xfrm>
            <a:off x="8128000" y="6248401"/>
            <a:ext cx="3556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fld id="{C633F8FC-CD45-4E20-B5D0-800168B4EAB8}" type="datetime1">
              <a:rPr lang="zh-TW" altLang="en-US" smtClean="0"/>
              <a:pPr/>
              <a:t>2021/12/21</a:t>
            </a:fld>
            <a:endParaRPr lang="zh-TW" altLang="en-US" dirty="0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3"/>
          </p:nvPr>
        </p:nvSpPr>
        <p:spPr>
          <a:xfrm>
            <a:off x="812801" y="6248207"/>
            <a:ext cx="7228111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endParaRPr lang="zh-TW" altLang="en-US" dirty="0"/>
          </a:p>
        </p:txBody>
      </p:sp>
      <p:sp>
        <p:nvSpPr>
          <p:cNvPr id="7" name="矩形 6"/>
          <p:cNvSpPr/>
          <p:nvPr/>
        </p:nvSpPr>
        <p:spPr bwMode="white">
          <a:xfrm>
            <a:off x="0" y="1234440"/>
            <a:ext cx="12192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280160"/>
            <a:ext cx="7112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787400" y="1280160"/>
            <a:ext cx="1140460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3" name="投影片編號版面配置區 22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7112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53774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  <p:sldLayoutId id="2147484019" r:id="rId9"/>
    <p:sldLayoutId id="2147484020" r:id="rId10"/>
    <p:sldLayoutId id="2147484021" r:id="rId11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4400" b="1" kern="1200" baseline="0">
          <a:solidFill>
            <a:srgbClr val="0E457D"/>
          </a:solidFill>
          <a:latin typeface="Arial" panose="020B0604020202020204" pitchFamily="34" charset="0"/>
          <a:ea typeface="微軟正黑體" panose="020B0604030504040204" pitchFamily="34" charset="-120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12/21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294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標題版面配置區 21"/>
          <p:cNvSpPr>
            <a:spLocks noGrp="1"/>
          </p:cNvSpPr>
          <p:nvPr>
            <p:ph type="title"/>
          </p:nvPr>
        </p:nvSpPr>
        <p:spPr>
          <a:xfrm>
            <a:off x="812800" y="228600"/>
            <a:ext cx="10871200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zh-TW" altLang="en-US" dirty="0"/>
              <a:t>按一下以編輯母片標題樣式</a:t>
            </a:r>
            <a:endParaRPr kumimoji="0" lang="en-US" dirty="0"/>
          </a:p>
        </p:txBody>
      </p:sp>
      <p:sp>
        <p:nvSpPr>
          <p:cNvPr id="13" name="文字版面配置區 12"/>
          <p:cNvSpPr>
            <a:spLocks noGrp="1"/>
          </p:cNvSpPr>
          <p:nvPr>
            <p:ph type="body" idx="1"/>
          </p:nvPr>
        </p:nvSpPr>
        <p:spPr>
          <a:xfrm>
            <a:off x="816864" y="1600200"/>
            <a:ext cx="10871200" cy="452628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zh-TW" altLang="en-US" dirty="0"/>
              <a:t>按一下以編輯母片文字樣式</a:t>
            </a:r>
          </a:p>
          <a:p>
            <a:pPr lvl="1" eaLnBrk="1" latinLnBrk="0" hangingPunct="1"/>
            <a:r>
              <a:rPr kumimoji="0" lang="zh-TW" altLang="en-US" dirty="0"/>
              <a:t>第二層</a:t>
            </a:r>
          </a:p>
          <a:p>
            <a:pPr lvl="2" eaLnBrk="1" latinLnBrk="0" hangingPunct="1"/>
            <a:r>
              <a:rPr kumimoji="0" lang="zh-TW" altLang="en-US" dirty="0"/>
              <a:t>第三層</a:t>
            </a:r>
          </a:p>
          <a:p>
            <a:pPr lvl="3" eaLnBrk="1" latinLnBrk="0" hangingPunct="1"/>
            <a:r>
              <a:rPr kumimoji="0" lang="zh-TW" altLang="en-US" dirty="0"/>
              <a:t>第四層</a:t>
            </a:r>
          </a:p>
          <a:p>
            <a:pPr lvl="4" eaLnBrk="1" latinLnBrk="0" hangingPunct="1"/>
            <a:r>
              <a:rPr kumimoji="0" lang="zh-TW" altLang="en-US" dirty="0"/>
              <a:t>第五層</a:t>
            </a:r>
            <a:endParaRPr kumimoji="0" lang="en-US" dirty="0"/>
          </a:p>
        </p:txBody>
      </p:sp>
      <p:sp>
        <p:nvSpPr>
          <p:cNvPr id="14" name="日期版面配置區 13"/>
          <p:cNvSpPr>
            <a:spLocks noGrp="1"/>
          </p:cNvSpPr>
          <p:nvPr>
            <p:ph type="dt" sz="half" idx="2"/>
          </p:nvPr>
        </p:nvSpPr>
        <p:spPr>
          <a:xfrm>
            <a:off x="8128000" y="6248401"/>
            <a:ext cx="3556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fld id="{C633F8FC-CD45-4E20-B5D0-800168B4EAB8}" type="datetime1">
              <a:rPr lang="zh-TW" altLang="en-US" smtClean="0"/>
              <a:pPr/>
              <a:t>2021/12/21</a:t>
            </a:fld>
            <a:endParaRPr lang="zh-TW" altLang="en-US" dirty="0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3"/>
          </p:nvPr>
        </p:nvSpPr>
        <p:spPr>
          <a:xfrm>
            <a:off x="812801" y="6248207"/>
            <a:ext cx="7228111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endParaRPr lang="zh-TW" altLang="en-US" dirty="0"/>
          </a:p>
        </p:txBody>
      </p:sp>
      <p:sp>
        <p:nvSpPr>
          <p:cNvPr id="7" name="矩形 6"/>
          <p:cNvSpPr/>
          <p:nvPr/>
        </p:nvSpPr>
        <p:spPr bwMode="white">
          <a:xfrm>
            <a:off x="0" y="1234440"/>
            <a:ext cx="12192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280160"/>
            <a:ext cx="7112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787400" y="1280160"/>
            <a:ext cx="1140460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3" name="投影片編號版面配置區 22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7112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816896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33" r:id="rId3"/>
    <p:sldLayoutId id="2147484034" r:id="rId4"/>
    <p:sldLayoutId id="2147484035" r:id="rId5"/>
    <p:sldLayoutId id="2147484036" r:id="rId6"/>
    <p:sldLayoutId id="2147484037" r:id="rId7"/>
    <p:sldLayoutId id="2147484038" r:id="rId8"/>
    <p:sldLayoutId id="2147484039" r:id="rId9"/>
    <p:sldLayoutId id="2147484040" r:id="rId10"/>
    <p:sldLayoutId id="2147484041" r:id="rId11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4400" b="1" kern="1200" baseline="0">
          <a:solidFill>
            <a:srgbClr val="0E457D"/>
          </a:solidFill>
          <a:latin typeface="Arial" panose="020B0604020202020204" pitchFamily="34" charset="0"/>
          <a:ea typeface="微軟正黑體" panose="020B0604030504040204" pitchFamily="34" charset="-120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LzujrVcJUqc" TargetMode="External"/><Relationship Id="rId2" Type="http://schemas.openxmlformats.org/officeDocument/2006/relationships/hyperlink" Target="https://www.youtube.com/watch?v=46CQ6tNABPs&amp;list=PLcUGG8B6IdYICOEQsKEMXXOBZv2uSdn5I&amp;index=11" TargetMode="External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LzujrVcJUqc" TargetMode="Externa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83699" y="1835871"/>
            <a:ext cx="5470981" cy="159313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數位信號處理實驗</a:t>
            </a:r>
            <a:b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en-US" altLang="zh-TW" dirty="0"/>
              <a:t>(DSP)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567127" y="4268214"/>
            <a:ext cx="2552062" cy="456930"/>
          </a:xfrm>
        </p:spPr>
        <p:txBody>
          <a:bodyPr/>
          <a:lstStyle/>
          <a:p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電機系 方士豪 教授</a:t>
            </a:r>
            <a:endParaRPr lang="en-US" altLang="zh-CN" sz="20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" name="副标题 4"/>
          <p:cNvSpPr>
            <a:spLocks noGrp="1"/>
          </p:cNvSpPr>
          <p:nvPr>
            <p:ph type="subTitle" idx="1"/>
          </p:nvPr>
        </p:nvSpPr>
        <p:spPr>
          <a:xfrm>
            <a:off x="1383699" y="3435346"/>
            <a:ext cx="5844994" cy="425702"/>
          </a:xfrm>
        </p:spPr>
        <p:txBody>
          <a:bodyPr>
            <a:normAutofit/>
          </a:bodyPr>
          <a:lstStyle/>
          <a:p>
            <a:r>
              <a:rPr lang="en-US" altLang="zh-TW" b="1" u="heavy" dirty="0">
                <a:solidFill>
                  <a:srgbClr val="CE4C4B"/>
                </a:solidFill>
              </a:rPr>
              <a:t>DSP</a:t>
            </a:r>
            <a:r>
              <a:rPr lang="zh-TW" altLang="en-US" b="1" u="heavy" dirty="0">
                <a:solidFill>
                  <a:srgbClr val="CE4C4B"/>
                </a:solidFill>
              </a:rPr>
              <a:t>專題二 </a:t>
            </a:r>
            <a:r>
              <a:rPr lang="en-US" altLang="zh-TW" b="1" u="heavy" dirty="0">
                <a:solidFill>
                  <a:srgbClr val="CE4C4B"/>
                </a:solidFill>
              </a:rPr>
              <a:t>(2/2)</a:t>
            </a:r>
          </a:p>
        </p:txBody>
      </p:sp>
    </p:spTree>
    <p:extLst>
      <p:ext uri="{BB962C8B-B14F-4D97-AF65-F5344CB8AC3E}">
        <p14:creationId xmlns:p14="http://schemas.microsoft.com/office/powerpoint/2010/main" val="12341293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SNR (1/2)</a:t>
            </a:r>
            <a:endParaRPr lang="zh-TW" altLang="en-US" dirty="0"/>
          </a:p>
        </p:txBody>
      </p:sp>
      <p:sp>
        <p:nvSpPr>
          <p:cNvPr id="8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83251" y="1746242"/>
            <a:ext cx="337592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NR (Signal-to-Noise Ratio)</a:t>
            </a: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1007630" y="175134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1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11" name="Freeform 359"/>
          <p:cNvSpPr>
            <a:spLocks noChangeAspect="1"/>
          </p:cNvSpPr>
          <p:nvPr/>
        </p:nvSpPr>
        <p:spPr>
          <a:xfrm>
            <a:off x="1487520" y="2336925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1956302" y="2329135"/>
            <a:ext cx="360515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訊雜比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SNR):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訊號與雜訊的比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內容版面配置區 2"/>
              <p:cNvSpPr txBox="1">
                <a:spLocks/>
              </p:cNvSpPr>
              <p:nvPr/>
            </p:nvSpPr>
            <p:spPr>
              <a:xfrm>
                <a:off x="5594589" y="1655599"/>
                <a:ext cx="4369580" cy="1009904"/>
              </a:xfrm>
              <a:prstGeom prst="rect">
                <a:avLst/>
              </a:prstGeom>
            </p:spPr>
            <p:txBody>
              <a:bodyPr vert="horz">
                <a:normAutofit/>
              </a:bodyPr>
              <a:lstStyle>
                <a:lvl1pPr marL="320040" indent="-320040" algn="l" rtl="0" eaLnBrk="1" latinLnBrk="0" hangingPunct="1">
                  <a:spcBef>
                    <a:spcPts val="700"/>
                  </a:spcBef>
                  <a:buClr>
                    <a:schemeClr val="accent2"/>
                  </a:buClr>
                  <a:buSzPct val="60000"/>
                  <a:buFont typeface="Wingdings"/>
                  <a:buChar char=""/>
                  <a:defRPr kumimoji="0" sz="29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1pPr>
                <a:lvl2pPr marL="640080" indent="-274320" algn="l" rtl="0" eaLnBrk="1" latinLnBrk="0" hangingPunct="1">
                  <a:spcBef>
                    <a:spcPts val="550"/>
                  </a:spcBef>
                  <a:buClr>
                    <a:schemeClr val="accent1"/>
                  </a:buClr>
                  <a:buSzPct val="70000"/>
                  <a:buFont typeface="Wingdings 2"/>
                  <a:buChar char=""/>
                  <a:defRPr kumimoji="0" sz="26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2pPr>
                <a:lvl3pPr marL="914400" indent="-228600" algn="l" rtl="0" eaLnBrk="1" latinLnBrk="0" hangingPunct="1">
                  <a:spcBef>
                    <a:spcPts val="500"/>
                  </a:spcBef>
                  <a:buClr>
                    <a:schemeClr val="accent2"/>
                  </a:buClr>
                  <a:buSzPct val="75000"/>
                  <a:buFont typeface="Wingdings"/>
                  <a:buChar char=""/>
                  <a:defRPr kumimoji="0" sz="23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3pPr>
                <a:lvl4pPr marL="1371600" indent="-228600" algn="l" rtl="0" eaLnBrk="1" latinLnBrk="0" hangingPunct="1">
                  <a:spcBef>
                    <a:spcPts val="400"/>
                  </a:spcBef>
                  <a:buClr>
                    <a:schemeClr val="accent3"/>
                  </a:buClr>
                  <a:buSzPct val="75000"/>
                  <a:buFont typeface="Wingdings"/>
                  <a:buChar char=""/>
                  <a:defRPr kumimoji="0" sz="20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4pPr>
                <a:lvl5pPr marL="1828800" indent="-228600" algn="l" rtl="0" eaLnBrk="1" latinLnBrk="0" hangingPunct="1">
                  <a:spcBef>
                    <a:spcPts val="400"/>
                  </a:spcBef>
                  <a:buClr>
                    <a:schemeClr val="accent4"/>
                  </a:buClr>
                  <a:buSzPct val="65000"/>
                  <a:buFont typeface="Wingdings"/>
                  <a:buChar char=""/>
                  <a:defRPr kumimoji="0" sz="20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5pPr>
                <a:lvl6pPr marL="2103120" indent="-228600" algn="l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Wingdings"/>
                  <a:buChar char="§"/>
                  <a:defRPr kumimoji="0"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77440" indent="-228600" algn="l" rtl="0" eaLnBrk="1" latinLnBrk="0" hangingPunct="1">
                  <a:spcBef>
                    <a:spcPct val="20000"/>
                  </a:spcBef>
                  <a:buClr>
                    <a:schemeClr val="accent2"/>
                  </a:buClr>
                  <a:buFont typeface="Wingdings"/>
                  <a:buChar char="§"/>
                  <a:defRPr kumimoji="0"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651760" indent="-228600" algn="l" rtl="0" eaLnBrk="1" latinLnBrk="0" hangingPunct="1">
                  <a:spcBef>
                    <a:spcPct val="20000"/>
                  </a:spcBef>
                  <a:buClr>
                    <a:schemeClr val="accent3"/>
                  </a:buClr>
                  <a:buFont typeface="Wingdings"/>
                  <a:buChar char="§"/>
                  <a:defRPr kumimoji="0"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26080" indent="-228600" algn="l" rtl="0" eaLnBrk="1" latinLnBrk="0" hangingPunct="1">
                  <a:spcBef>
                    <a:spcPct val="20000"/>
                  </a:spcBef>
                  <a:buClr>
                    <a:schemeClr val="accent4"/>
                  </a:buClr>
                  <a:buFont typeface="Wingdings"/>
                  <a:buChar char="§"/>
                  <a:defRPr kumimoji="0"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fontAlgn="auto">
                  <a:spcAft>
                    <a:spcPts val="0"/>
                  </a:spcAft>
                  <a:buFont typeface="Wingdings"/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zh-TW" altLang="zh-TW" sz="200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en-US" altLang="zh-TW" sz="200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0</m:t>
                          </m:r>
                        </m:fName>
                        <m:e>
                          <m:func>
                            <m:funcPr>
                              <m:ctrlPr>
                                <a:rPr lang="zh-TW" altLang="zh-TW" sz="2000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sSub>
                                <m:sSubPr>
                                  <m:ctrlPr>
                                    <a:rPr lang="zh-TW" altLang="zh-TW" sz="2000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TW" sz="2000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log</m:t>
                                  </m:r>
                                </m:e>
                                <m:sub>
                                  <m:r>
                                    <a:rPr lang="en-US" altLang="zh-TW" sz="2000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10</m:t>
                                  </m:r>
                                </m:sub>
                              </m:sSub>
                            </m:fName>
                            <m:e>
                              <m:f>
                                <m:fPr>
                                  <m:ctrlPr>
                                    <a:rPr lang="zh-TW" altLang="zh-TW" sz="2000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nary>
                                    <m:naryPr>
                                      <m:chr m:val="∑"/>
                                      <m:limLoc m:val="undOvr"/>
                                      <m:ctrlPr>
                                        <a:rPr lang="zh-TW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i</m:t>
                                      </m:r>
                                      <m: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m:rPr>
                                          <m:sty m:val="p"/>
                                        </m:rP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N</m:t>
                                      </m:r>
                                    </m:sup>
                                    <m:e>
                                      <m:sSup>
                                        <m:sSupPr>
                                          <m:ctrlPr>
                                            <a:rPr lang="zh-TW" altLang="zh-TW" sz="2000" i="1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TW" sz="2000" i="1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p>
                                          <m:r>
                                            <a:rPr lang="en-US" altLang="zh-TW" sz="2000" i="1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e>
                                  </m:nary>
                                  <m:r>
                                    <a:rPr lang="en-US" altLang="zh-TW" sz="2000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en-US" altLang="zh-TW" sz="2000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altLang="zh-TW" sz="2000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num>
                                <m:den>
                                  <m:nary>
                                    <m:naryPr>
                                      <m:chr m:val="∑"/>
                                      <m:limLoc m:val="undOvr"/>
                                      <m:ctrlPr>
                                        <a:rPr lang="zh-TW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en-US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m:rPr>
                                          <m:sty m:val="p"/>
                                        </m:rP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N</m:t>
                                      </m:r>
                                    </m:sup>
                                    <m:e>
                                      <m:r>
                                        <a:rPr lang="en-US" altLang="zh-TW" sz="2000" i="1" smtClean="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</m:t>
                                      </m:r>
                                      <m:r>
                                        <a:rPr lang="en-US" altLang="zh-TW" sz="2000" b="0" i="1" baseline="30000" smtClean="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  <m:r>
                                        <a:rPr lang="en-US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lang="en-US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</m:nary>
                                </m:den>
                              </m:f>
                            </m:e>
                          </m:func>
                        </m:e>
                      </m:func>
                    </m:oMath>
                  </m:oMathPara>
                </a14:m>
                <a:endParaRPr lang="en-US" altLang="zh-TW" sz="2000" i="1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17" name="內容版面配置區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94589" y="1655599"/>
                <a:ext cx="4369580" cy="100990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 Placeholder 3"/>
          <p:cNvSpPr txBox="1">
            <a:spLocks/>
          </p:cNvSpPr>
          <p:nvPr/>
        </p:nvSpPr>
        <p:spPr>
          <a:xfrm>
            <a:off x="1683251" y="3186402"/>
            <a:ext cx="4985339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SNR (Segmental Signal-to-Noise Ratio )</a:t>
            </a:r>
          </a:p>
        </p:txBody>
      </p:sp>
      <p:sp>
        <p:nvSpPr>
          <p:cNvPr id="19" name="Oval 77"/>
          <p:cNvSpPr>
            <a:spLocks noChangeArrowheads="1"/>
          </p:cNvSpPr>
          <p:nvPr/>
        </p:nvSpPr>
        <p:spPr bwMode="auto">
          <a:xfrm>
            <a:off x="1007630" y="319150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2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20" name="Freeform 359"/>
          <p:cNvSpPr>
            <a:spLocks noChangeAspect="1"/>
          </p:cNvSpPr>
          <p:nvPr/>
        </p:nvSpPr>
        <p:spPr>
          <a:xfrm>
            <a:off x="1487520" y="3777085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1956302" y="3769295"/>
            <a:ext cx="3792705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消除雜訊後之乾淨語音的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SNR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值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內容版面配置區 2"/>
              <p:cNvSpPr txBox="1">
                <a:spLocks/>
              </p:cNvSpPr>
              <p:nvPr/>
            </p:nvSpPr>
            <p:spPr>
              <a:xfrm>
                <a:off x="6330898" y="3648973"/>
                <a:ext cx="4725406" cy="1017273"/>
              </a:xfrm>
              <a:prstGeom prst="rect">
                <a:avLst/>
              </a:prstGeom>
            </p:spPr>
            <p:txBody>
              <a:bodyPr vert="horz">
                <a:normAutofit/>
              </a:bodyPr>
              <a:lstStyle>
                <a:lvl1pPr marL="320040" indent="-320040" algn="l" rtl="0" eaLnBrk="1" latinLnBrk="0" hangingPunct="1">
                  <a:spcBef>
                    <a:spcPts val="700"/>
                  </a:spcBef>
                  <a:buClr>
                    <a:schemeClr val="accent2"/>
                  </a:buClr>
                  <a:buSzPct val="60000"/>
                  <a:buFont typeface="Wingdings"/>
                  <a:buChar char=""/>
                  <a:defRPr kumimoji="0" sz="29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1pPr>
                <a:lvl2pPr marL="640080" indent="-274320" algn="l" rtl="0" eaLnBrk="1" latinLnBrk="0" hangingPunct="1">
                  <a:spcBef>
                    <a:spcPts val="550"/>
                  </a:spcBef>
                  <a:buClr>
                    <a:schemeClr val="accent1"/>
                  </a:buClr>
                  <a:buSzPct val="70000"/>
                  <a:buFont typeface="Wingdings 2"/>
                  <a:buChar char=""/>
                  <a:defRPr kumimoji="0" sz="26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2pPr>
                <a:lvl3pPr marL="914400" indent="-228600" algn="l" rtl="0" eaLnBrk="1" latinLnBrk="0" hangingPunct="1">
                  <a:spcBef>
                    <a:spcPts val="500"/>
                  </a:spcBef>
                  <a:buClr>
                    <a:schemeClr val="accent2"/>
                  </a:buClr>
                  <a:buSzPct val="75000"/>
                  <a:buFont typeface="Wingdings"/>
                  <a:buChar char=""/>
                  <a:defRPr kumimoji="0" sz="23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3pPr>
                <a:lvl4pPr marL="1371600" indent="-228600" algn="l" rtl="0" eaLnBrk="1" latinLnBrk="0" hangingPunct="1">
                  <a:spcBef>
                    <a:spcPts val="400"/>
                  </a:spcBef>
                  <a:buClr>
                    <a:schemeClr val="accent3"/>
                  </a:buClr>
                  <a:buSzPct val="75000"/>
                  <a:buFont typeface="Wingdings"/>
                  <a:buChar char=""/>
                  <a:defRPr kumimoji="0" sz="20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4pPr>
                <a:lvl5pPr marL="1828800" indent="-228600" algn="l" rtl="0" eaLnBrk="1" latinLnBrk="0" hangingPunct="1">
                  <a:spcBef>
                    <a:spcPts val="400"/>
                  </a:spcBef>
                  <a:buClr>
                    <a:schemeClr val="accent4"/>
                  </a:buClr>
                  <a:buSzPct val="65000"/>
                  <a:buFont typeface="Wingdings"/>
                  <a:buChar char=""/>
                  <a:defRPr kumimoji="0" sz="20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5pPr>
                <a:lvl6pPr marL="2103120" indent="-228600" algn="l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Wingdings"/>
                  <a:buChar char="§"/>
                  <a:defRPr kumimoji="0"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77440" indent="-228600" algn="l" rtl="0" eaLnBrk="1" latinLnBrk="0" hangingPunct="1">
                  <a:spcBef>
                    <a:spcPct val="20000"/>
                  </a:spcBef>
                  <a:buClr>
                    <a:schemeClr val="accent2"/>
                  </a:buClr>
                  <a:buFont typeface="Wingdings"/>
                  <a:buChar char="§"/>
                  <a:defRPr kumimoji="0"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651760" indent="-228600" algn="l" rtl="0" eaLnBrk="1" latinLnBrk="0" hangingPunct="1">
                  <a:spcBef>
                    <a:spcPct val="20000"/>
                  </a:spcBef>
                  <a:buClr>
                    <a:schemeClr val="accent3"/>
                  </a:buClr>
                  <a:buFont typeface="Wingdings"/>
                  <a:buChar char="§"/>
                  <a:defRPr kumimoji="0"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26080" indent="-228600" algn="l" rtl="0" eaLnBrk="1" latinLnBrk="0" hangingPunct="1">
                  <a:spcBef>
                    <a:spcPct val="20000"/>
                  </a:spcBef>
                  <a:buClr>
                    <a:schemeClr val="accent4"/>
                  </a:buClr>
                  <a:buFont typeface="Wingdings"/>
                  <a:buChar char="§"/>
                  <a:defRPr kumimoji="0"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fontAlgn="auto">
                  <a:spcAft>
                    <a:spcPts val="0"/>
                  </a:spcAft>
                  <a:buFont typeface="Wingdings"/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TW" altLang="zh-TW" sz="200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TW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TW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den>
                      </m:f>
                      <m:nary>
                        <m:naryPr>
                          <m:chr m:val="∑"/>
                          <m:limLoc m:val="undOvr"/>
                          <m:ctrlPr>
                            <a:rPr lang="zh-TW" altLang="zh-TW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TW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altLang="zh-TW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altLang="zh-TW" sz="200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m</m:t>
                          </m:r>
                        </m:sup>
                        <m:e>
                          <m:func>
                            <m:funcPr>
                              <m:ctrlPr>
                                <a:rPr lang="zh-TW" altLang="zh-TW" sz="2000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a:rPr lang="en-US" altLang="zh-TW" sz="200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10</m:t>
                              </m:r>
                            </m:fName>
                            <m:e>
                              <m:func>
                                <m:funcPr>
                                  <m:ctrlPr>
                                    <a:rPr lang="zh-TW" altLang="zh-TW" sz="2000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sSub>
                                    <m:sSubPr>
                                      <m:ctrlPr>
                                        <a:rPr lang="zh-TW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log</m:t>
                                      </m:r>
                                    </m:e>
                                    <m:sub>
                                      <m: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0</m:t>
                                      </m:r>
                                    </m:sub>
                                  </m:sSub>
                                </m:fName>
                                <m:e>
                                  <m:f>
                                    <m:fPr>
                                      <m:ctrlPr>
                                        <a:rPr lang="zh-TW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nary>
                                        <m:naryPr>
                                          <m:chr m:val="∑"/>
                                          <m:limLoc m:val="undOvr"/>
                                          <m:ctrlPr>
                                            <a:rPr lang="zh-TW" altLang="zh-TW" sz="2000" i="1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naryPr>
                                        <m:sub>
                                          <m:r>
                                            <m:rPr>
                                              <m:sty m:val="p"/>
                                            </m:rPr>
                                            <a:rPr lang="en-US" altLang="zh-TW" sz="2000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i</m:t>
                                          </m:r>
                                          <m:r>
                                            <a:rPr lang="en-US" altLang="zh-TW" sz="2000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=1</m:t>
                                          </m:r>
                                        </m:sub>
                                        <m:sup>
                                          <m:r>
                                            <m:rPr>
                                              <m:sty m:val="p"/>
                                            </m:rPr>
                                            <a:rPr lang="en-US" altLang="zh-TW" sz="2000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N</m:t>
                                          </m:r>
                                        </m:sup>
                                        <m:e>
                                          <m:sSubSup>
                                            <m:sSubSupPr>
                                              <m:ctrlPr>
                                                <a:rPr lang="zh-TW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𝑘</m:t>
                                              </m:r>
                                            </m:sub>
                                            <m:sup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sup>
                                          </m:sSubSup>
                                        </m:e>
                                      </m:nary>
                                      <m: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lang="en-US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)</m:t>
                                      </m:r>
                                    </m:num>
                                    <m:den>
                                      <m:nary>
                                        <m:naryPr>
                                          <m:chr m:val="∑"/>
                                          <m:limLoc m:val="undOvr"/>
                                          <m:ctrlPr>
                                            <a:rPr lang="zh-TW" altLang="zh-TW" sz="2000" i="1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naryPr>
                                        <m:sub>
                                          <m:r>
                                            <m:rPr>
                                              <m:sty m:val="p"/>
                                            </m:rPr>
                                            <a:rPr lang="en-US" altLang="zh-TW" sz="2000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i</m:t>
                                          </m:r>
                                          <m:r>
                                            <a:rPr lang="en-US" altLang="zh-TW" sz="2000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=1</m:t>
                                          </m:r>
                                        </m:sub>
                                        <m:sup>
                                          <m:r>
                                            <m:rPr>
                                              <m:sty m:val="p"/>
                                            </m:rPr>
                                            <a:rPr lang="en-US" altLang="zh-TW" sz="2000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N</m:t>
                                          </m:r>
                                        </m:sup>
                                        <m:e>
                                          <m:sSup>
                                            <m:sSupPr>
                                              <m:ctrlPr>
                                                <a:rPr lang="zh-TW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(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𝑥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𝑘</m:t>
                                                  </m:r>
                                                </m:sub>
                                              </m:sSub>
                                              <m:d>
                                                <m:dPr>
                                                  <m:ctrlPr>
                                                    <a:rPr lang="zh-TW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dPr>
                                                <m:e>
                                                  <m: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𝑖</m:t>
                                                  </m:r>
                                                </m:e>
                                              </m:d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𝐷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1</m:t>
                                                  </m:r>
                                                  <m: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𝑘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TW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 </m:t>
                                              </m:r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(</m:t>
                                              </m:r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))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sup>
                                          </m:sSup>
                                        </m:e>
                                      </m:nary>
                                    </m:den>
                                  </m:f>
                                </m:e>
                              </m:func>
                            </m:e>
                          </m:func>
                        </m:e>
                      </m:nary>
                      <m:r>
                        <a:rPr lang="en-US" altLang="zh-TW" sz="2000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   </m:t>
                      </m:r>
                    </m:oMath>
                  </m:oMathPara>
                </a14:m>
                <a:endParaRPr lang="en-US" altLang="zh-TW" sz="2000" dirty="0">
                  <a:solidFill>
                    <a:srgbClr val="0E457D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22" name="內容版面配置區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30898" y="3648973"/>
                <a:ext cx="4725406" cy="101727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 Placeholder 3"/>
          <p:cNvSpPr txBox="1">
            <a:spLocks/>
          </p:cNvSpPr>
          <p:nvPr/>
        </p:nvSpPr>
        <p:spPr>
          <a:xfrm>
            <a:off x="6949766" y="2802463"/>
            <a:ext cx="3300170" cy="687199"/>
          </a:xfrm>
          <a:prstGeom prst="roundRect">
            <a:avLst>
              <a:gd name="adj" fmla="val 13519"/>
            </a:avLst>
          </a:prstGeom>
          <a:solidFill>
            <a:srgbClr val="E1F0FB"/>
          </a:solidFill>
          <a:ln>
            <a:noFill/>
          </a:ln>
        </p:spPr>
        <p:txBody>
          <a:bodyPr wrap="square" lIns="180000" tIns="72000" rIns="180000" bIns="7200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342900" indent="-342900" algn="l">
              <a:buClr>
                <a:srgbClr val="DD8047"/>
              </a:buClr>
              <a:buSzPct val="60000"/>
              <a:buFont typeface="Wingdings" panose="05000000000000000000" pitchFamily="2" charset="2"/>
              <a:buChar char="l"/>
              <a:defRPr/>
            </a:pPr>
            <a:r>
              <a:rPr lang="en-US" altLang="zh-TW" sz="16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SNR:</a:t>
            </a:r>
            <a:r>
              <a:rPr lang="zh-TW" altLang="en-US" sz="16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每一個音框的</a:t>
            </a:r>
            <a:r>
              <a:rPr lang="en-US" altLang="zh-TW" sz="16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NR</a:t>
            </a:r>
          </a:p>
          <a:p>
            <a:pPr marL="342900" indent="-342900" algn="l">
              <a:buClr>
                <a:srgbClr val="DD8047"/>
              </a:buClr>
              <a:buSzPct val="60000"/>
              <a:buFont typeface="Wingdings" panose="05000000000000000000" pitchFamily="2" charset="2"/>
              <a:buChar char="l"/>
              <a:defRPr/>
            </a:pPr>
            <a:r>
              <a:rPr lang="zh-TW" altLang="en-US" sz="16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𝑖 </a:t>
            </a:r>
            <a:r>
              <a:rPr lang="en-US" altLang="zh-TW" sz="16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: </a:t>
            </a:r>
            <a:r>
              <a:rPr lang="zh-TW" altLang="en-US" sz="1600" b="1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一個音框裡的第𝑖個值</a:t>
            </a:r>
          </a:p>
        </p:txBody>
      </p:sp>
      <p:sp>
        <p:nvSpPr>
          <p:cNvPr id="27" name="Freeform 359"/>
          <p:cNvSpPr>
            <a:spLocks noChangeAspect="1"/>
          </p:cNvSpPr>
          <p:nvPr/>
        </p:nvSpPr>
        <p:spPr>
          <a:xfrm>
            <a:off x="1487520" y="4961348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 Placeholder 3"/>
          <p:cNvSpPr txBox="1">
            <a:spLocks/>
          </p:cNvSpPr>
          <p:nvPr/>
        </p:nvSpPr>
        <p:spPr>
          <a:xfrm>
            <a:off x="1956302" y="4953558"/>
            <a:ext cx="232435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混雜語音的 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SNR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值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內容版面配置區 2"/>
              <p:cNvSpPr txBox="1">
                <a:spLocks/>
              </p:cNvSpPr>
              <p:nvPr/>
            </p:nvSpPr>
            <p:spPr>
              <a:xfrm>
                <a:off x="4334574" y="4679206"/>
                <a:ext cx="4826350" cy="1206601"/>
              </a:xfrm>
              <a:prstGeom prst="rect">
                <a:avLst/>
              </a:prstGeom>
            </p:spPr>
            <p:txBody>
              <a:bodyPr vert="horz">
                <a:normAutofit/>
              </a:bodyPr>
              <a:lstStyle>
                <a:lvl1pPr marL="320040" indent="-320040" algn="l" rtl="0" eaLnBrk="1" latinLnBrk="0" hangingPunct="1">
                  <a:spcBef>
                    <a:spcPts val="700"/>
                  </a:spcBef>
                  <a:buClr>
                    <a:schemeClr val="accent2"/>
                  </a:buClr>
                  <a:buSzPct val="60000"/>
                  <a:buFont typeface="Wingdings"/>
                  <a:buChar char=""/>
                  <a:defRPr kumimoji="0" sz="29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1pPr>
                <a:lvl2pPr marL="640080" indent="-274320" algn="l" rtl="0" eaLnBrk="1" latinLnBrk="0" hangingPunct="1">
                  <a:spcBef>
                    <a:spcPts val="550"/>
                  </a:spcBef>
                  <a:buClr>
                    <a:schemeClr val="accent1"/>
                  </a:buClr>
                  <a:buSzPct val="70000"/>
                  <a:buFont typeface="Wingdings 2"/>
                  <a:buChar char=""/>
                  <a:defRPr kumimoji="0" sz="26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2pPr>
                <a:lvl3pPr marL="914400" indent="-228600" algn="l" rtl="0" eaLnBrk="1" latinLnBrk="0" hangingPunct="1">
                  <a:spcBef>
                    <a:spcPts val="500"/>
                  </a:spcBef>
                  <a:buClr>
                    <a:schemeClr val="accent2"/>
                  </a:buClr>
                  <a:buSzPct val="75000"/>
                  <a:buFont typeface="Wingdings"/>
                  <a:buChar char=""/>
                  <a:defRPr kumimoji="0" sz="23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3pPr>
                <a:lvl4pPr marL="1371600" indent="-228600" algn="l" rtl="0" eaLnBrk="1" latinLnBrk="0" hangingPunct="1">
                  <a:spcBef>
                    <a:spcPts val="400"/>
                  </a:spcBef>
                  <a:buClr>
                    <a:schemeClr val="accent3"/>
                  </a:buClr>
                  <a:buSzPct val="75000"/>
                  <a:buFont typeface="Wingdings"/>
                  <a:buChar char=""/>
                  <a:defRPr kumimoji="0" sz="20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4pPr>
                <a:lvl5pPr marL="1828800" indent="-228600" algn="l" rtl="0" eaLnBrk="1" latinLnBrk="0" hangingPunct="1">
                  <a:spcBef>
                    <a:spcPts val="400"/>
                  </a:spcBef>
                  <a:buClr>
                    <a:schemeClr val="accent4"/>
                  </a:buClr>
                  <a:buSzPct val="65000"/>
                  <a:buFont typeface="Wingdings"/>
                  <a:buChar char=""/>
                  <a:defRPr kumimoji="0" sz="2000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+mn-cs"/>
                  </a:defRPr>
                </a:lvl5pPr>
                <a:lvl6pPr marL="2103120" indent="-228600" algn="l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Wingdings"/>
                  <a:buChar char="§"/>
                  <a:defRPr kumimoji="0"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77440" indent="-228600" algn="l" rtl="0" eaLnBrk="1" latinLnBrk="0" hangingPunct="1">
                  <a:spcBef>
                    <a:spcPct val="20000"/>
                  </a:spcBef>
                  <a:buClr>
                    <a:schemeClr val="accent2"/>
                  </a:buClr>
                  <a:buFont typeface="Wingdings"/>
                  <a:buChar char="§"/>
                  <a:defRPr kumimoji="0"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651760" indent="-228600" algn="l" rtl="0" eaLnBrk="1" latinLnBrk="0" hangingPunct="1">
                  <a:spcBef>
                    <a:spcPct val="20000"/>
                  </a:spcBef>
                  <a:buClr>
                    <a:schemeClr val="accent3"/>
                  </a:buClr>
                  <a:buFont typeface="Wingdings"/>
                  <a:buChar char="§"/>
                  <a:defRPr kumimoji="0"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26080" indent="-228600" algn="l" rtl="0" eaLnBrk="1" latinLnBrk="0" hangingPunct="1">
                  <a:spcBef>
                    <a:spcPct val="20000"/>
                  </a:spcBef>
                  <a:buClr>
                    <a:schemeClr val="accent4"/>
                  </a:buClr>
                  <a:buFont typeface="Wingdings"/>
                  <a:buChar char="§"/>
                  <a:defRPr kumimoji="0"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fontAlgn="auto">
                  <a:spcAft>
                    <a:spcPts val="0"/>
                  </a:spcAft>
                  <a:buFont typeface="Wingdings"/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TW" altLang="zh-TW" sz="200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TW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TW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den>
                      </m:f>
                      <m:nary>
                        <m:naryPr>
                          <m:chr m:val="∑"/>
                          <m:limLoc m:val="undOvr"/>
                          <m:ctrlPr>
                            <a:rPr lang="zh-TW" altLang="zh-TW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TW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altLang="zh-TW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altLang="zh-TW" sz="200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m</m:t>
                          </m:r>
                        </m:sup>
                        <m:e>
                          <m:func>
                            <m:funcPr>
                              <m:ctrlPr>
                                <a:rPr lang="zh-TW" altLang="zh-TW" sz="2000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a:rPr lang="en-US" altLang="zh-TW" sz="200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10</m:t>
                              </m:r>
                            </m:fName>
                            <m:e>
                              <m:func>
                                <m:funcPr>
                                  <m:ctrlPr>
                                    <a:rPr lang="zh-TW" altLang="zh-TW" sz="2000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sSub>
                                    <m:sSubPr>
                                      <m:ctrlPr>
                                        <a:rPr lang="zh-TW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log</m:t>
                                      </m:r>
                                    </m:e>
                                    <m:sub>
                                      <m: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0</m:t>
                                      </m:r>
                                    </m:sub>
                                  </m:sSub>
                                </m:fName>
                                <m:e>
                                  <m:f>
                                    <m:fPr>
                                      <m:ctrlPr>
                                        <a:rPr lang="zh-TW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nary>
                                        <m:naryPr>
                                          <m:chr m:val="∑"/>
                                          <m:limLoc m:val="undOvr"/>
                                          <m:ctrlPr>
                                            <a:rPr lang="zh-TW" altLang="zh-TW" sz="2000" i="1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naryPr>
                                        <m:sub>
                                          <m:r>
                                            <m:rPr>
                                              <m:sty m:val="p"/>
                                            </m:rPr>
                                            <a:rPr lang="en-US" altLang="zh-TW" sz="2000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i</m:t>
                                          </m:r>
                                          <m:r>
                                            <a:rPr lang="en-US" altLang="zh-TW" sz="2000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=1</m:t>
                                          </m:r>
                                        </m:sub>
                                        <m:sup>
                                          <m:r>
                                            <m:rPr>
                                              <m:sty m:val="p"/>
                                            </m:rPr>
                                            <a:rPr lang="en-US" altLang="zh-TW" sz="2000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N</m:t>
                                          </m:r>
                                        </m:sup>
                                        <m:e>
                                          <m:sSubSup>
                                            <m:sSubSupPr>
                                              <m:ctrlPr>
                                                <a:rPr lang="zh-TW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𝑘</m:t>
                                              </m:r>
                                            </m:sub>
                                            <m:sup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sup>
                                          </m:sSubSup>
                                        </m:e>
                                      </m:nary>
                                      <m: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lang="en-US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)</m:t>
                                      </m:r>
                                    </m:num>
                                    <m:den>
                                      <m:nary>
                                        <m:naryPr>
                                          <m:chr m:val="∑"/>
                                          <m:limLoc m:val="undOvr"/>
                                          <m:ctrlPr>
                                            <a:rPr lang="zh-TW" altLang="zh-TW" sz="2000" i="1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naryPr>
                                        <m:sub>
                                          <m:r>
                                            <m:rPr>
                                              <m:sty m:val="p"/>
                                            </m:rPr>
                                            <a:rPr lang="en-US" altLang="zh-TW" sz="2000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i</m:t>
                                          </m:r>
                                          <m:r>
                                            <a:rPr lang="en-US" altLang="zh-TW" sz="2000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=1</m:t>
                                          </m:r>
                                        </m:sub>
                                        <m:sup>
                                          <m:r>
                                            <m:rPr>
                                              <m:sty m:val="p"/>
                                            </m:rPr>
                                            <a:rPr lang="en-US" altLang="zh-TW" sz="2000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N</m:t>
                                          </m:r>
                                        </m:sup>
                                        <m:e>
                                          <m:sSup>
                                            <m:sSupPr>
                                              <m:ctrlPr>
                                                <a:rPr lang="zh-TW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(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𝑥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𝑘</m:t>
                                                  </m:r>
                                                </m:sub>
                                              </m:sSub>
                                              <m:d>
                                                <m:dPr>
                                                  <m:ctrlPr>
                                                    <a:rPr lang="zh-TW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dPr>
                                                <m:e>
                                                  <m: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𝑖</m:t>
                                                  </m:r>
                                                </m:e>
                                              </m:d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−</m:t>
                                              </m:r>
                                              <m:sSub>
                                                <m:sSubPr>
                                                  <m:ctrlP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𝐷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2</m:t>
                                                  </m:r>
                                                  <m:r>
                                                    <a:rPr lang="en-US" altLang="zh-TW" sz="2000" i="1">
                                                      <a:solidFill>
                                                        <a:srgbClr val="0E457D"/>
                                                      </a:solidFill>
                                                      <a:latin typeface="Cambria Math" panose="02040503050406030204" pitchFamily="18" charset="0"/>
                                                    </a:rPr>
                                                    <m:t>𝑘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zh-TW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 </m:t>
                                              </m:r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(</m:t>
                                              </m:r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))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TW" sz="2000" i="1">
                                                  <a:solidFill>
                                                    <a:srgbClr val="0E457D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sup>
                                          </m:sSup>
                                        </m:e>
                                      </m:nary>
                                    </m:den>
                                  </m:f>
                                </m:e>
                              </m:func>
                            </m:e>
                          </m:func>
                        </m:e>
                      </m:nary>
                      <m:r>
                        <a:rPr lang="en-US" altLang="zh-TW" sz="2000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altLang="zh-TW" sz="2000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29" name="內容版面配置區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34574" y="4679206"/>
                <a:ext cx="4826350" cy="120660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Text Placeholder 3"/>
          <p:cNvSpPr txBox="1">
            <a:spLocks/>
          </p:cNvSpPr>
          <p:nvPr/>
        </p:nvSpPr>
        <p:spPr>
          <a:xfrm>
            <a:off x="1683251" y="5877272"/>
            <a:ext cx="6735818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SNRI  (Segmental Signal-to-Noise Ratio Improvement)</a:t>
            </a:r>
          </a:p>
        </p:txBody>
      </p:sp>
      <p:sp>
        <p:nvSpPr>
          <p:cNvPr id="31" name="Oval 77"/>
          <p:cNvSpPr>
            <a:spLocks noChangeArrowheads="1"/>
          </p:cNvSpPr>
          <p:nvPr/>
        </p:nvSpPr>
        <p:spPr bwMode="auto">
          <a:xfrm>
            <a:off x="1007630" y="588237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3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32" name="Freeform 359"/>
          <p:cNvSpPr>
            <a:spLocks noChangeAspect="1"/>
          </p:cNvSpPr>
          <p:nvPr/>
        </p:nvSpPr>
        <p:spPr>
          <a:xfrm>
            <a:off x="1487520" y="6389118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 Placeholder 3"/>
          <p:cNvSpPr txBox="1">
            <a:spLocks/>
          </p:cNvSpPr>
          <p:nvPr/>
        </p:nvSpPr>
        <p:spPr>
          <a:xfrm>
            <a:off x="1956302" y="6381328"/>
            <a:ext cx="7341753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SNRI=</a:t>
            </a:r>
            <a:r>
              <a:rPr kumimoji="0" lang="zh-TW" altLang="en-US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消除雜訊後之乾淨語音的</a:t>
            </a:r>
            <a:r>
              <a:rPr kumimoji="0" lang="en-US" altLang="zh-TW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SNR</a:t>
            </a:r>
            <a:r>
              <a:rPr kumimoji="0" lang="zh-TW" altLang="en-US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值 − 混雜語音的 </a:t>
            </a:r>
            <a:r>
              <a:rPr kumimoji="0" lang="en-US" altLang="zh-TW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SNR</a:t>
            </a:r>
            <a:r>
              <a:rPr kumimoji="0" lang="zh-TW" altLang="en-US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值</a:t>
            </a:r>
          </a:p>
        </p:txBody>
      </p:sp>
      <p:sp>
        <p:nvSpPr>
          <p:cNvPr id="34" name="KSO_Shape"/>
          <p:cNvSpPr>
            <a:spLocks noChangeAspect="1"/>
          </p:cNvSpPr>
          <p:nvPr/>
        </p:nvSpPr>
        <p:spPr bwMode="auto">
          <a:xfrm rot="7486942" flipH="1" flipV="1">
            <a:off x="6522784" y="2867992"/>
            <a:ext cx="449930" cy="482930"/>
          </a:xfrm>
          <a:custGeom>
            <a:avLst/>
            <a:gdLst>
              <a:gd name="T0" fmla="*/ 847238989 w 3580"/>
              <a:gd name="T1" fmla="*/ 847586626 h 3841"/>
              <a:gd name="T2" fmla="*/ 847238989 w 3580"/>
              <a:gd name="T3" fmla="*/ 847586626 h 3841"/>
              <a:gd name="T4" fmla="*/ 847238989 w 3580"/>
              <a:gd name="T5" fmla="*/ 847586626 h 3841"/>
              <a:gd name="T6" fmla="*/ 847238989 w 3580"/>
              <a:gd name="T7" fmla="*/ 847586626 h 3841"/>
              <a:gd name="T8" fmla="*/ 847238989 w 3580"/>
              <a:gd name="T9" fmla="*/ 847586626 h 3841"/>
              <a:gd name="T10" fmla="*/ 847238989 w 3580"/>
              <a:gd name="T11" fmla="*/ 847586626 h 3841"/>
              <a:gd name="T12" fmla="*/ 847238989 w 3580"/>
              <a:gd name="T13" fmla="*/ 847586626 h 3841"/>
              <a:gd name="T14" fmla="*/ 847238989 w 3580"/>
              <a:gd name="T15" fmla="*/ 847586626 h 3841"/>
              <a:gd name="T16" fmla="*/ 847238989 w 3580"/>
              <a:gd name="T17" fmla="*/ 847586626 h 3841"/>
              <a:gd name="T18" fmla="*/ 847238989 w 3580"/>
              <a:gd name="T19" fmla="*/ 847586626 h 3841"/>
              <a:gd name="T20" fmla="*/ 847238989 w 3580"/>
              <a:gd name="T21" fmla="*/ 847586626 h 3841"/>
              <a:gd name="T22" fmla="*/ 847238989 w 3580"/>
              <a:gd name="T23" fmla="*/ 847586626 h 3841"/>
              <a:gd name="T24" fmla="*/ 847238989 w 3580"/>
              <a:gd name="T25" fmla="*/ 847586626 h 3841"/>
              <a:gd name="T26" fmla="*/ 847238989 w 3580"/>
              <a:gd name="T27" fmla="*/ 847586626 h 3841"/>
              <a:gd name="T28" fmla="*/ 847238989 w 3580"/>
              <a:gd name="T29" fmla="*/ 847586626 h 3841"/>
              <a:gd name="T30" fmla="*/ 847238989 w 3580"/>
              <a:gd name="T31" fmla="*/ 847586626 h 3841"/>
              <a:gd name="T32" fmla="*/ 847238989 w 3580"/>
              <a:gd name="T33" fmla="*/ 847586626 h 3841"/>
              <a:gd name="T34" fmla="*/ 847238989 w 3580"/>
              <a:gd name="T35" fmla="*/ 847586626 h 3841"/>
              <a:gd name="T36" fmla="*/ 847238989 w 3580"/>
              <a:gd name="T37" fmla="*/ 847586626 h 3841"/>
              <a:gd name="T38" fmla="*/ 847238989 w 3580"/>
              <a:gd name="T39" fmla="*/ 847586626 h 3841"/>
              <a:gd name="T40" fmla="*/ 847238989 w 3580"/>
              <a:gd name="T41" fmla="*/ 847586626 h 3841"/>
              <a:gd name="T42" fmla="*/ 847238989 w 3580"/>
              <a:gd name="T43" fmla="*/ 847586626 h 3841"/>
              <a:gd name="T44" fmla="*/ 847238989 w 3580"/>
              <a:gd name="T45" fmla="*/ 847586626 h 3841"/>
              <a:gd name="T46" fmla="*/ 847238989 w 3580"/>
              <a:gd name="T47" fmla="*/ 847586626 h 3841"/>
              <a:gd name="T48" fmla="*/ 847238989 w 3580"/>
              <a:gd name="T49" fmla="*/ 847586626 h 3841"/>
              <a:gd name="T50" fmla="*/ 847238989 w 3580"/>
              <a:gd name="T51" fmla="*/ 847586626 h 3841"/>
              <a:gd name="T52" fmla="*/ 847238989 w 3580"/>
              <a:gd name="T53" fmla="*/ 847586626 h 3841"/>
              <a:gd name="T54" fmla="*/ 847238989 w 3580"/>
              <a:gd name="T55" fmla="*/ 847586626 h 3841"/>
              <a:gd name="T56" fmla="*/ 847238989 w 3580"/>
              <a:gd name="T57" fmla="*/ 847586626 h 3841"/>
              <a:gd name="T58" fmla="*/ 847238989 w 3580"/>
              <a:gd name="T59" fmla="*/ 847586626 h 3841"/>
              <a:gd name="T60" fmla="*/ 847238989 w 3580"/>
              <a:gd name="T61" fmla="*/ 847586626 h 3841"/>
              <a:gd name="T62" fmla="*/ 847238989 w 3580"/>
              <a:gd name="T63" fmla="*/ 847586626 h 3841"/>
              <a:gd name="T64" fmla="*/ 847238989 w 3580"/>
              <a:gd name="T65" fmla="*/ 847586626 h 3841"/>
              <a:gd name="T66" fmla="*/ 847238989 w 3580"/>
              <a:gd name="T67" fmla="*/ 847586626 h 3841"/>
              <a:gd name="T68" fmla="*/ 847238989 w 3580"/>
              <a:gd name="T69" fmla="*/ 847586626 h 3841"/>
              <a:gd name="T70" fmla="*/ 847238989 w 3580"/>
              <a:gd name="T71" fmla="*/ 847586626 h 3841"/>
              <a:gd name="T72" fmla="*/ 847238989 w 3580"/>
              <a:gd name="T73" fmla="*/ 847586626 h 3841"/>
              <a:gd name="T74" fmla="*/ 847238989 w 3580"/>
              <a:gd name="T75" fmla="*/ 847586626 h 3841"/>
              <a:gd name="T76" fmla="*/ 847238989 w 3580"/>
              <a:gd name="T77" fmla="*/ 847586626 h 3841"/>
              <a:gd name="T78" fmla="*/ 847238989 w 3580"/>
              <a:gd name="T79" fmla="*/ 847586626 h 3841"/>
              <a:gd name="T80" fmla="*/ 847238989 w 3580"/>
              <a:gd name="T81" fmla="*/ 847586626 h 3841"/>
              <a:gd name="T82" fmla="*/ 847238989 w 3580"/>
              <a:gd name="T83" fmla="*/ 847586626 h 3841"/>
              <a:gd name="T84" fmla="*/ 847238989 w 3580"/>
              <a:gd name="T85" fmla="*/ 847586626 h 3841"/>
              <a:gd name="T86" fmla="*/ 847238989 w 3580"/>
              <a:gd name="T87" fmla="*/ 847586626 h 3841"/>
              <a:gd name="T88" fmla="*/ 847238989 w 3580"/>
              <a:gd name="T89" fmla="*/ 847586626 h 3841"/>
              <a:gd name="T90" fmla="*/ 847238989 w 3580"/>
              <a:gd name="T91" fmla="*/ 847586626 h 3841"/>
              <a:gd name="T92" fmla="*/ 847238989 w 3580"/>
              <a:gd name="T93" fmla="*/ 847586626 h 3841"/>
              <a:gd name="T94" fmla="*/ 847238989 w 3580"/>
              <a:gd name="T95" fmla="*/ 847586626 h 3841"/>
              <a:gd name="T96" fmla="*/ 847238989 w 3580"/>
              <a:gd name="T97" fmla="*/ 847586626 h 3841"/>
              <a:gd name="T98" fmla="*/ 847238989 w 3580"/>
              <a:gd name="T99" fmla="*/ 847586626 h 3841"/>
              <a:gd name="T100" fmla="*/ 847238989 w 3580"/>
              <a:gd name="T101" fmla="*/ 847586626 h 3841"/>
              <a:gd name="T102" fmla="*/ 847238989 w 3580"/>
              <a:gd name="T103" fmla="*/ 847586626 h 3841"/>
              <a:gd name="T104" fmla="*/ 847238989 w 3580"/>
              <a:gd name="T105" fmla="*/ 847586626 h 3841"/>
              <a:gd name="T106" fmla="*/ 847238989 w 3580"/>
              <a:gd name="T107" fmla="*/ 847586626 h 3841"/>
              <a:gd name="T108" fmla="*/ 847238989 w 3580"/>
              <a:gd name="T109" fmla="*/ 847586626 h 3841"/>
              <a:gd name="T110" fmla="*/ 847238989 w 3580"/>
              <a:gd name="T111" fmla="*/ 847586626 h 3841"/>
              <a:gd name="T112" fmla="*/ 847238989 w 3580"/>
              <a:gd name="T113" fmla="*/ 847586626 h 3841"/>
              <a:gd name="T114" fmla="*/ 847238989 w 3580"/>
              <a:gd name="T115" fmla="*/ 847586626 h 3841"/>
              <a:gd name="T116" fmla="*/ 847238989 w 3580"/>
              <a:gd name="T117" fmla="*/ 847586626 h 3841"/>
              <a:gd name="T118" fmla="*/ 847238989 w 3580"/>
              <a:gd name="T119" fmla="*/ 847586626 h 3841"/>
              <a:gd name="T120" fmla="*/ 847238989 w 3580"/>
              <a:gd name="T121" fmla="*/ 847586626 h 3841"/>
              <a:gd name="T122" fmla="*/ 847238989 w 3580"/>
              <a:gd name="T123" fmla="*/ 847586626 h 384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580" h="3841">
                <a:moveTo>
                  <a:pt x="3580" y="2640"/>
                </a:moveTo>
                <a:lnTo>
                  <a:pt x="3491" y="1718"/>
                </a:lnTo>
                <a:lnTo>
                  <a:pt x="2890" y="2323"/>
                </a:lnTo>
                <a:lnTo>
                  <a:pt x="2881" y="2251"/>
                </a:lnTo>
                <a:lnTo>
                  <a:pt x="2871" y="2180"/>
                </a:lnTo>
                <a:lnTo>
                  <a:pt x="2859" y="2110"/>
                </a:lnTo>
                <a:lnTo>
                  <a:pt x="2846" y="2042"/>
                </a:lnTo>
                <a:lnTo>
                  <a:pt x="2831" y="1974"/>
                </a:lnTo>
                <a:lnTo>
                  <a:pt x="2816" y="1908"/>
                </a:lnTo>
                <a:lnTo>
                  <a:pt x="2799" y="1844"/>
                </a:lnTo>
                <a:lnTo>
                  <a:pt x="2782" y="1780"/>
                </a:lnTo>
                <a:lnTo>
                  <a:pt x="2762" y="1718"/>
                </a:lnTo>
                <a:lnTo>
                  <a:pt x="2742" y="1657"/>
                </a:lnTo>
                <a:lnTo>
                  <a:pt x="2719" y="1597"/>
                </a:lnTo>
                <a:lnTo>
                  <a:pt x="2697" y="1539"/>
                </a:lnTo>
                <a:lnTo>
                  <a:pt x="2672" y="1480"/>
                </a:lnTo>
                <a:lnTo>
                  <a:pt x="2647" y="1424"/>
                </a:lnTo>
                <a:lnTo>
                  <a:pt x="2620" y="1369"/>
                </a:lnTo>
                <a:lnTo>
                  <a:pt x="2592" y="1314"/>
                </a:lnTo>
                <a:lnTo>
                  <a:pt x="2564" y="1262"/>
                </a:lnTo>
                <a:lnTo>
                  <a:pt x="2533" y="1210"/>
                </a:lnTo>
                <a:lnTo>
                  <a:pt x="2501" y="1160"/>
                </a:lnTo>
                <a:lnTo>
                  <a:pt x="2469" y="1110"/>
                </a:lnTo>
                <a:lnTo>
                  <a:pt x="2435" y="1062"/>
                </a:lnTo>
                <a:lnTo>
                  <a:pt x="2401" y="1014"/>
                </a:lnTo>
                <a:lnTo>
                  <a:pt x="2365" y="968"/>
                </a:lnTo>
                <a:lnTo>
                  <a:pt x="2327" y="924"/>
                </a:lnTo>
                <a:lnTo>
                  <a:pt x="2289" y="880"/>
                </a:lnTo>
                <a:lnTo>
                  <a:pt x="2249" y="838"/>
                </a:lnTo>
                <a:lnTo>
                  <a:pt x="2209" y="797"/>
                </a:lnTo>
                <a:lnTo>
                  <a:pt x="2167" y="756"/>
                </a:lnTo>
                <a:lnTo>
                  <a:pt x="2124" y="717"/>
                </a:lnTo>
                <a:lnTo>
                  <a:pt x="2081" y="678"/>
                </a:lnTo>
                <a:lnTo>
                  <a:pt x="2036" y="641"/>
                </a:lnTo>
                <a:lnTo>
                  <a:pt x="1990" y="605"/>
                </a:lnTo>
                <a:lnTo>
                  <a:pt x="1942" y="570"/>
                </a:lnTo>
                <a:lnTo>
                  <a:pt x="1894" y="536"/>
                </a:lnTo>
                <a:lnTo>
                  <a:pt x="1845" y="504"/>
                </a:lnTo>
                <a:lnTo>
                  <a:pt x="1794" y="472"/>
                </a:lnTo>
                <a:lnTo>
                  <a:pt x="1743" y="442"/>
                </a:lnTo>
                <a:lnTo>
                  <a:pt x="1691" y="412"/>
                </a:lnTo>
                <a:lnTo>
                  <a:pt x="1637" y="383"/>
                </a:lnTo>
                <a:lnTo>
                  <a:pt x="1584" y="356"/>
                </a:lnTo>
                <a:lnTo>
                  <a:pt x="1528" y="330"/>
                </a:lnTo>
                <a:lnTo>
                  <a:pt x="1472" y="304"/>
                </a:lnTo>
                <a:lnTo>
                  <a:pt x="1415" y="280"/>
                </a:lnTo>
                <a:lnTo>
                  <a:pt x="1356" y="256"/>
                </a:lnTo>
                <a:lnTo>
                  <a:pt x="1298" y="234"/>
                </a:lnTo>
                <a:lnTo>
                  <a:pt x="1236" y="213"/>
                </a:lnTo>
                <a:lnTo>
                  <a:pt x="1175" y="193"/>
                </a:lnTo>
                <a:lnTo>
                  <a:pt x="1114" y="173"/>
                </a:lnTo>
                <a:lnTo>
                  <a:pt x="1051" y="155"/>
                </a:lnTo>
                <a:lnTo>
                  <a:pt x="987" y="138"/>
                </a:lnTo>
                <a:lnTo>
                  <a:pt x="923" y="122"/>
                </a:lnTo>
                <a:lnTo>
                  <a:pt x="857" y="107"/>
                </a:lnTo>
                <a:lnTo>
                  <a:pt x="790" y="92"/>
                </a:lnTo>
                <a:lnTo>
                  <a:pt x="722" y="78"/>
                </a:lnTo>
                <a:lnTo>
                  <a:pt x="654" y="67"/>
                </a:lnTo>
                <a:lnTo>
                  <a:pt x="584" y="56"/>
                </a:lnTo>
                <a:lnTo>
                  <a:pt x="514" y="45"/>
                </a:lnTo>
                <a:lnTo>
                  <a:pt x="443" y="36"/>
                </a:lnTo>
                <a:lnTo>
                  <a:pt x="371" y="27"/>
                </a:lnTo>
                <a:lnTo>
                  <a:pt x="299" y="20"/>
                </a:lnTo>
                <a:lnTo>
                  <a:pt x="226" y="14"/>
                </a:lnTo>
                <a:lnTo>
                  <a:pt x="151" y="7"/>
                </a:lnTo>
                <a:lnTo>
                  <a:pt x="76" y="4"/>
                </a:lnTo>
                <a:lnTo>
                  <a:pt x="0" y="0"/>
                </a:lnTo>
                <a:lnTo>
                  <a:pt x="99" y="58"/>
                </a:lnTo>
                <a:lnTo>
                  <a:pt x="194" y="118"/>
                </a:lnTo>
                <a:lnTo>
                  <a:pt x="288" y="180"/>
                </a:lnTo>
                <a:lnTo>
                  <a:pt x="377" y="243"/>
                </a:lnTo>
                <a:lnTo>
                  <a:pt x="466" y="305"/>
                </a:lnTo>
                <a:lnTo>
                  <a:pt x="550" y="370"/>
                </a:lnTo>
                <a:lnTo>
                  <a:pt x="633" y="434"/>
                </a:lnTo>
                <a:lnTo>
                  <a:pt x="712" y="502"/>
                </a:lnTo>
                <a:lnTo>
                  <a:pt x="788" y="569"/>
                </a:lnTo>
                <a:lnTo>
                  <a:pt x="862" y="636"/>
                </a:lnTo>
                <a:lnTo>
                  <a:pt x="933" y="706"/>
                </a:lnTo>
                <a:lnTo>
                  <a:pt x="1000" y="777"/>
                </a:lnTo>
                <a:lnTo>
                  <a:pt x="1065" y="848"/>
                </a:lnTo>
                <a:lnTo>
                  <a:pt x="1096" y="884"/>
                </a:lnTo>
                <a:lnTo>
                  <a:pt x="1126" y="920"/>
                </a:lnTo>
                <a:lnTo>
                  <a:pt x="1156" y="957"/>
                </a:lnTo>
                <a:lnTo>
                  <a:pt x="1184" y="993"/>
                </a:lnTo>
                <a:lnTo>
                  <a:pt x="1213" y="1031"/>
                </a:lnTo>
                <a:lnTo>
                  <a:pt x="1240" y="1068"/>
                </a:lnTo>
                <a:lnTo>
                  <a:pt x="1266" y="1105"/>
                </a:lnTo>
                <a:lnTo>
                  <a:pt x="1293" y="1144"/>
                </a:lnTo>
                <a:lnTo>
                  <a:pt x="1317" y="1181"/>
                </a:lnTo>
                <a:lnTo>
                  <a:pt x="1341" y="1220"/>
                </a:lnTo>
                <a:lnTo>
                  <a:pt x="1365" y="1258"/>
                </a:lnTo>
                <a:lnTo>
                  <a:pt x="1387" y="1298"/>
                </a:lnTo>
                <a:lnTo>
                  <a:pt x="1408" y="1337"/>
                </a:lnTo>
                <a:lnTo>
                  <a:pt x="1429" y="1377"/>
                </a:lnTo>
                <a:lnTo>
                  <a:pt x="1449" y="1417"/>
                </a:lnTo>
                <a:lnTo>
                  <a:pt x="1468" y="1456"/>
                </a:lnTo>
                <a:lnTo>
                  <a:pt x="1487" y="1496"/>
                </a:lnTo>
                <a:lnTo>
                  <a:pt x="1504" y="1537"/>
                </a:lnTo>
                <a:lnTo>
                  <a:pt x="1522" y="1577"/>
                </a:lnTo>
                <a:lnTo>
                  <a:pt x="1538" y="1618"/>
                </a:lnTo>
                <a:lnTo>
                  <a:pt x="1553" y="1659"/>
                </a:lnTo>
                <a:lnTo>
                  <a:pt x="1566" y="1702"/>
                </a:lnTo>
                <a:lnTo>
                  <a:pt x="1580" y="1743"/>
                </a:lnTo>
                <a:lnTo>
                  <a:pt x="1593" y="1785"/>
                </a:lnTo>
                <a:lnTo>
                  <a:pt x="1604" y="1827"/>
                </a:lnTo>
                <a:lnTo>
                  <a:pt x="1615" y="1870"/>
                </a:lnTo>
                <a:lnTo>
                  <a:pt x="1625" y="1913"/>
                </a:lnTo>
                <a:lnTo>
                  <a:pt x="1634" y="1956"/>
                </a:lnTo>
                <a:lnTo>
                  <a:pt x="1642" y="1999"/>
                </a:lnTo>
                <a:lnTo>
                  <a:pt x="1650" y="2043"/>
                </a:lnTo>
                <a:lnTo>
                  <a:pt x="1656" y="2088"/>
                </a:lnTo>
                <a:lnTo>
                  <a:pt x="1661" y="2131"/>
                </a:lnTo>
                <a:lnTo>
                  <a:pt x="1666" y="2176"/>
                </a:lnTo>
                <a:lnTo>
                  <a:pt x="1670" y="2221"/>
                </a:lnTo>
                <a:lnTo>
                  <a:pt x="1672" y="2266"/>
                </a:lnTo>
                <a:lnTo>
                  <a:pt x="1675" y="2310"/>
                </a:lnTo>
                <a:lnTo>
                  <a:pt x="1675" y="2357"/>
                </a:lnTo>
                <a:lnTo>
                  <a:pt x="1676" y="2401"/>
                </a:lnTo>
                <a:lnTo>
                  <a:pt x="1017" y="1953"/>
                </a:lnTo>
                <a:lnTo>
                  <a:pt x="1106" y="2876"/>
                </a:lnTo>
                <a:lnTo>
                  <a:pt x="2445" y="3841"/>
                </a:lnTo>
                <a:lnTo>
                  <a:pt x="3580" y="2640"/>
                </a:lnTo>
                <a:close/>
              </a:path>
            </a:pathLst>
          </a:custGeom>
          <a:solidFill>
            <a:srgbClr val="C00000"/>
          </a:solidFill>
          <a:ln w="38100">
            <a:solidFill>
              <a:schemeClr val="bg1"/>
            </a:solidFill>
          </a:ln>
          <a:extLst/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61556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SNR (2/2)</a:t>
            </a:r>
            <a:endParaRPr lang="zh-TW" altLang="en-US" dirty="0"/>
          </a:p>
        </p:txBody>
      </p:sp>
      <p:sp>
        <p:nvSpPr>
          <p:cNvPr id="8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9" name="表格 8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237902661"/>
                  </p:ext>
                </p:extLst>
              </p:nvPr>
            </p:nvGraphicFramePr>
            <p:xfrm>
              <a:off x="812800" y="1992228"/>
              <a:ext cx="9747696" cy="3396048"/>
            </p:xfrm>
            <a:graphic>
              <a:graphicData uri="http://schemas.openxmlformats.org/drawingml/2006/table">
                <a:tbl>
                  <a:tblPr firstRow="1"/>
                  <a:tblGrid>
                    <a:gridCol w="1656184">
                      <a:extLst>
                        <a:ext uri="{9D8B030D-6E8A-4147-A177-3AD203B41FA5}">
                          <a16:colId xmlns:a16="http://schemas.microsoft.com/office/drawing/2014/main" val="2866711560"/>
                        </a:ext>
                      </a:extLst>
                    </a:gridCol>
                    <a:gridCol w="8091512">
                      <a:extLst>
                        <a:ext uri="{9D8B030D-6E8A-4147-A177-3AD203B41FA5}">
                          <a16:colId xmlns:a16="http://schemas.microsoft.com/office/drawing/2014/main" val="2332704388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zh-TW" sz="2000" kern="100" baseline="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變數名稱</a:t>
                          </a: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zh-TW" sz="2000" kern="100" baseline="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意義</a:t>
                          </a: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221503936"/>
                      </a:ext>
                    </a:extLst>
                  </a:tr>
                  <a:tr h="561876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x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381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E7E9F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乾淨語音</a:t>
                          </a: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381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E7E9F0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18191517"/>
                      </a:ext>
                    </a:extLst>
                  </a:tr>
                  <a:tr h="57606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D</a:t>
                          </a:r>
                          <a:r>
                            <a:rPr lang="en-US" alt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1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15000"/>
                            </a:lnSpc>
                          </a:pP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消除雜訊後的乾淨語音</a:t>
                          </a: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(</a:t>
                          </a: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乾淨語音</a:t>
                          </a: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+</a:t>
                          </a: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噪音，並經過</a:t>
                          </a: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wiener filter</a:t>
                          </a: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後的語音</a:t>
                          </a: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691261572"/>
                      </a:ext>
                    </a:extLst>
                  </a:tr>
                  <a:tr h="57606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en-US" alt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D2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just" defTabSz="457200" rtl="0" eaLnBrk="1" fontAlgn="auto" latinLnBrk="0" hangingPunct="1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zh-TW" alt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混雜語音</a:t>
                          </a:r>
                          <a:r>
                            <a:rPr lang="en-US" alt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(</a:t>
                          </a:r>
                          <a:r>
                            <a:rPr lang="zh-TW" alt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經過</a:t>
                          </a:r>
                          <a:r>
                            <a:rPr lang="en-US" altLang="zh-TW" sz="2000" kern="1200" baseline="0" dirty="0" err="1">
                              <a:solidFill>
                                <a:schemeClr val="dk1"/>
                              </a:solidFill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+mn-cs"/>
                            </a:rPr>
                            <a:t>audio_SNR.m</a:t>
                          </a:r>
                          <a:r>
                            <a:rPr lang="zh-TW" altLang="en-US" sz="2000" kern="1200" baseline="0" dirty="0">
                              <a:solidFill>
                                <a:schemeClr val="dk1"/>
                              </a:solidFill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+mn-cs"/>
                            </a:rPr>
                            <a:t>後的語音</a:t>
                          </a:r>
                          <a:r>
                            <a:rPr lang="en-US" alt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zh-TW" alt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7859451"/>
                      </a:ext>
                    </a:extLst>
                  </a:tr>
                  <a:tr h="57606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N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音框長度</a:t>
                          </a:r>
                          <a:r>
                            <a:rPr lang="zh-TW" alt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，在此專題內請設成</a:t>
                          </a:r>
                          <a:r>
                            <a:rPr lang="en-US" alt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180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37861330"/>
                      </a:ext>
                    </a:extLst>
                  </a:tr>
                  <a:tr h="73514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m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15000"/>
                            </a:lnSpc>
                          </a:pP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音框個數</a:t>
                          </a: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 = (</a:t>
                          </a: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音訊長度</a:t>
                          </a: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/N)</a:t>
                          </a: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，若除不盡則無條件去除小數點</a:t>
                          </a:r>
                        </a:p>
                        <a:p>
                          <a:pPr algn="just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例如：</a:t>
                          </a: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zh-TW" sz="2000" i="1" kern="100" baseline="0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2000" kern="100" baseline="0">
                                      <a:effectLst/>
                                      <a:latin typeface="Cambria Math" panose="02040503050406030204" pitchFamily="18" charset="0"/>
                                    </a:rPr>
                                    <m:t>x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 sz="2000" kern="100" baseline="0">
                                      <a:effectLst/>
                                      <a:latin typeface="Cambria Math" panose="02040503050406030204" pitchFamily="18" charset="0"/>
                                    </a:rPr>
                                    <m:t>k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zh-TW" sz="2000" i="1" kern="100" baseline="0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2000" kern="100" baseline="0">
                                      <a:effectLst/>
                                      <a:latin typeface="Cambria Math" panose="02040503050406030204" pitchFamily="18" charset="0"/>
                                    </a:rPr>
                                    <m:t>i</m:t>
                                  </m:r>
                                </m:e>
                              </m:d>
                            </m:oMath>
                          </a14:m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 = </a:t>
                          </a: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乾淨語音</a:t>
                          </a:r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n-US" sz="2000" kern="100" baseline="0">
                                  <a:effectLst/>
                                  <a:latin typeface="Cambria Math" panose="02040503050406030204" pitchFamily="18" charset="0"/>
                                </a:rPr>
                                <m:t>x</m:t>
                              </m:r>
                            </m:oMath>
                          </a14:m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的第</a:t>
                          </a: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k</a:t>
                          </a: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個音框中的第</a:t>
                          </a: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i </a:t>
                          </a: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個值</a:t>
                          </a: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01279652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9" name="表格 8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237902661"/>
                  </p:ext>
                </p:extLst>
              </p:nvPr>
            </p:nvGraphicFramePr>
            <p:xfrm>
              <a:off x="812800" y="1992228"/>
              <a:ext cx="9747696" cy="3425448"/>
            </p:xfrm>
            <a:graphic>
              <a:graphicData uri="http://schemas.openxmlformats.org/drawingml/2006/table">
                <a:tbl>
                  <a:tblPr firstRow="1"/>
                  <a:tblGrid>
                    <a:gridCol w="1656184">
                      <a:extLst>
                        <a:ext uri="{9D8B030D-6E8A-4147-A177-3AD203B41FA5}">
                          <a16:colId xmlns:a16="http://schemas.microsoft.com/office/drawing/2014/main" val="2866711560"/>
                        </a:ext>
                      </a:extLst>
                    </a:gridCol>
                    <a:gridCol w="8091512">
                      <a:extLst>
                        <a:ext uri="{9D8B030D-6E8A-4147-A177-3AD203B41FA5}">
                          <a16:colId xmlns:a16="http://schemas.microsoft.com/office/drawing/2014/main" val="2332704388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zh-TW" sz="2000" kern="100" baseline="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變數名稱</a:t>
                          </a: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zh-TW" sz="2000" kern="100" baseline="0" dirty="0">
                              <a:solidFill>
                                <a:schemeClr val="bg1"/>
                              </a:solidFill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意義</a:t>
                          </a: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221503936"/>
                      </a:ext>
                    </a:extLst>
                  </a:tr>
                  <a:tr h="561876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x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381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E7E9F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乾淨語音</a:t>
                          </a: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381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E7E9F0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18191517"/>
                      </a:ext>
                    </a:extLst>
                  </a:tr>
                  <a:tr h="57606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en-US" sz="2000" kern="100" baseline="0" dirty="0" smtClean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D</a:t>
                          </a:r>
                          <a:r>
                            <a:rPr lang="en-US" altLang="zh-TW" sz="2000" kern="100" baseline="0" dirty="0" smtClean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1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15000"/>
                            </a:lnSpc>
                          </a:pPr>
                          <a:r>
                            <a:rPr lang="zh-TW" sz="2000" kern="100" baseline="0" dirty="0" smtClean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消除</a:t>
                          </a: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雜訊後的乾淨語音</a:t>
                          </a: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(</a:t>
                          </a: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乾淨語音</a:t>
                          </a: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+</a:t>
                          </a: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噪音，並經過</a:t>
                          </a: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wiener filter</a:t>
                          </a: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後的語音</a:t>
                          </a:r>
                          <a:r>
                            <a:rPr lang="en-US" sz="2000" kern="100" baseline="0" dirty="0" smtClean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691261572"/>
                      </a:ext>
                    </a:extLst>
                  </a:tr>
                  <a:tr h="57606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en-US" altLang="zh-TW" sz="2000" kern="100" baseline="0" dirty="0" smtClean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D2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just" defTabSz="457200" rtl="0" eaLnBrk="1" fontAlgn="auto" latinLnBrk="0" hangingPunct="1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zh-TW" altLang="zh-TW" sz="2000" kern="100" baseline="0" dirty="0" smtClean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混雜語音</a:t>
                          </a:r>
                          <a:r>
                            <a:rPr lang="en-US" altLang="zh-TW" sz="2000" kern="100" baseline="0" dirty="0" smtClean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(</a:t>
                          </a:r>
                          <a:r>
                            <a:rPr lang="zh-TW" altLang="en-US" sz="2000" kern="100" baseline="0" dirty="0" smtClean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經過</a:t>
                          </a:r>
                          <a:r>
                            <a:rPr lang="en-US" altLang="zh-TW" sz="2000" kern="1200" baseline="0" dirty="0" err="1" smtClean="0">
                              <a:solidFill>
                                <a:schemeClr val="dk1"/>
                              </a:solidFill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+mn-cs"/>
                            </a:rPr>
                            <a:t>audio_SNR.m</a:t>
                          </a:r>
                          <a:r>
                            <a:rPr lang="zh-TW" altLang="en-US" sz="2000" kern="1200" baseline="0" dirty="0" smtClean="0">
                              <a:solidFill>
                                <a:schemeClr val="dk1"/>
                              </a:solidFill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+mn-cs"/>
                            </a:rPr>
                            <a:t>後的語音</a:t>
                          </a:r>
                          <a:r>
                            <a:rPr lang="en-US" altLang="zh-TW" sz="2000" kern="100" baseline="0" dirty="0" smtClean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)</a:t>
                          </a:r>
                          <a:endParaRPr lang="zh-TW" altLang="zh-TW" sz="2000" kern="100" baseline="0" dirty="0" smtClean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7859451"/>
                      </a:ext>
                    </a:extLst>
                  </a:tr>
                  <a:tr h="57606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N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just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zh-TW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音框</a:t>
                          </a:r>
                          <a:r>
                            <a:rPr lang="zh-TW" sz="2000" kern="100" baseline="0" dirty="0" smtClean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長度</a:t>
                          </a:r>
                          <a:r>
                            <a:rPr lang="zh-TW" altLang="en-US" sz="2000" kern="100" baseline="0" dirty="0" smtClean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，在此專題內請設成</a:t>
                          </a:r>
                          <a:r>
                            <a:rPr lang="en-US" altLang="zh-TW" sz="2000" kern="100" baseline="0" dirty="0" smtClean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180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37861330"/>
                      </a:ext>
                    </a:extLst>
                  </a:tr>
                  <a:tr h="76454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15000"/>
                            </a:lnSpc>
                            <a:spcBef>
                              <a:spcPts val="480"/>
                            </a:spcBef>
                            <a:spcAft>
                              <a:spcPts val="480"/>
                            </a:spcAft>
                          </a:pPr>
                          <a:r>
                            <a:rPr lang="en-US" sz="2000" kern="100" baseline="0" dirty="0">
                              <a:effectLst/>
                              <a:latin typeface="Arial" panose="020B0604020202020204" pitchFamily="34" charset="0"/>
                              <a:ea typeface="微軟正黑體" panose="020B0604030504040204" pitchFamily="34" charset="-120"/>
                              <a:cs typeface="Times New Roman" panose="02020603050405020304" pitchFamily="18" charset="0"/>
                            </a:rPr>
                            <a:t>m</a:t>
                          </a:r>
                          <a:endParaRPr lang="zh-TW" sz="2000" kern="100" baseline="0" dirty="0">
                            <a:effectLst/>
                            <a:latin typeface="Arial" panose="020B0604020202020204" pitchFamily="34" charset="0"/>
                            <a:ea typeface="微軟正黑體" panose="020B0604030504040204" pitchFamily="34" charset="-12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12529F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zh-TW"/>
                        </a:p>
                      </a:txBody>
                      <a:tcPr marL="68580" marR="68580" marT="0" marB="0" anchor="ctr">
                        <a:lnL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FFFFFF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2"/>
                          <a:stretch>
                            <a:fillRect l="-20557" t="-353175" r="-301" b="-16667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012796522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20414410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Direction </a:t>
            </a:r>
            <a:endParaRPr lang="zh-TW" altLang="en-US" dirty="0"/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grpSp>
        <p:nvGrpSpPr>
          <p:cNvPr id="43" name="群組 42"/>
          <p:cNvGrpSpPr/>
          <p:nvPr/>
        </p:nvGrpSpPr>
        <p:grpSpPr>
          <a:xfrm>
            <a:off x="813678" y="1628800"/>
            <a:ext cx="10870322" cy="726174"/>
            <a:chOff x="813678" y="1628800"/>
            <a:chExt cx="10870322" cy="726174"/>
          </a:xfrm>
        </p:grpSpPr>
        <p:sp>
          <p:nvSpPr>
            <p:cNvPr id="6" name="矩形 3"/>
            <p:cNvSpPr/>
            <p:nvPr/>
          </p:nvSpPr>
          <p:spPr>
            <a:xfrm>
              <a:off x="1533770" y="1634974"/>
              <a:ext cx="10150230" cy="720000"/>
            </a:xfrm>
            <a:custGeom>
              <a:avLst/>
              <a:gdLst>
                <a:gd name="connsiteX0" fmla="*/ 0 w 6120782"/>
                <a:gd name="connsiteY0" fmla="*/ 0 h 720092"/>
                <a:gd name="connsiteX1" fmla="*/ 6120782 w 6120782"/>
                <a:gd name="connsiteY1" fmla="*/ 0 h 720092"/>
                <a:gd name="connsiteX2" fmla="*/ 6120782 w 6120782"/>
                <a:gd name="connsiteY2" fmla="*/ 720092 h 720092"/>
                <a:gd name="connsiteX3" fmla="*/ 186125 w 6120782"/>
                <a:gd name="connsiteY3" fmla="*/ 710153 h 720092"/>
                <a:gd name="connsiteX4" fmla="*/ 0 w 6120782"/>
                <a:gd name="connsiteY4" fmla="*/ 450058 h 720092"/>
                <a:gd name="connsiteX5" fmla="*/ 0 w 6120782"/>
                <a:gd name="connsiteY5" fmla="*/ 0 h 720092"/>
                <a:gd name="connsiteX0" fmla="*/ 0 w 6120782"/>
                <a:gd name="connsiteY0" fmla="*/ 0 h 730031"/>
                <a:gd name="connsiteX1" fmla="*/ 6120782 w 6120782"/>
                <a:gd name="connsiteY1" fmla="*/ 0 h 730031"/>
                <a:gd name="connsiteX2" fmla="*/ 6120782 w 6120782"/>
                <a:gd name="connsiteY2" fmla="*/ 720092 h 730031"/>
                <a:gd name="connsiteX3" fmla="*/ 150164 w 6120782"/>
                <a:gd name="connsiteY3" fmla="*/ 730031 h 730031"/>
                <a:gd name="connsiteX4" fmla="*/ 0 w 6120782"/>
                <a:gd name="connsiteY4" fmla="*/ 450058 h 730031"/>
                <a:gd name="connsiteX5" fmla="*/ 0 w 6120782"/>
                <a:gd name="connsiteY5" fmla="*/ 0 h 730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20782" h="730031">
                  <a:moveTo>
                    <a:pt x="0" y="0"/>
                  </a:moveTo>
                  <a:lnTo>
                    <a:pt x="6120782" y="0"/>
                  </a:lnTo>
                  <a:lnTo>
                    <a:pt x="6120782" y="720092"/>
                  </a:lnTo>
                  <a:lnTo>
                    <a:pt x="150164" y="730031"/>
                  </a:lnTo>
                  <a:lnTo>
                    <a:pt x="0" y="4500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solidFill>
                <a:srgbClr val="0E457D"/>
              </a:solidFill>
              <a:prstDash val="solid"/>
            </a:ln>
            <a:effectLst/>
          </p:spPr>
          <p:txBody>
            <a:bodyPr lIns="360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2000" kern="0" dirty="0">
                  <a:latin typeface="Calibri"/>
                  <a:ea typeface="+mn-ea"/>
                </a:rPr>
                <a:t>看影片、詳讀講義的實驗步驟</a:t>
              </a:r>
              <a:r>
                <a:rPr kumimoji="0" lang="en-US" altLang="zh-TW" sz="2000" kern="0" dirty="0">
                  <a:latin typeface="Calibri"/>
                  <a:ea typeface="+mn-ea"/>
                </a:rPr>
                <a:t>1~4</a:t>
              </a:r>
            </a:p>
          </p:txBody>
        </p:sp>
        <p:grpSp>
          <p:nvGrpSpPr>
            <p:cNvPr id="7" name="群組 6"/>
            <p:cNvGrpSpPr/>
            <p:nvPr/>
          </p:nvGrpSpPr>
          <p:grpSpPr>
            <a:xfrm>
              <a:off x="813678" y="1628800"/>
              <a:ext cx="990126" cy="720092"/>
              <a:chOff x="1151563" y="749790"/>
              <a:chExt cx="990126" cy="726266"/>
            </a:xfrm>
          </p:grpSpPr>
          <p:sp>
            <p:nvSpPr>
              <p:cNvPr id="8" name="矩形 2"/>
              <p:cNvSpPr/>
              <p:nvPr/>
            </p:nvSpPr>
            <p:spPr>
              <a:xfrm>
                <a:off x="1151563" y="755964"/>
                <a:ext cx="990126" cy="720092"/>
              </a:xfrm>
              <a:custGeom>
                <a:avLst/>
                <a:gdLst/>
                <a:ahLst/>
                <a:cxnLst/>
                <a:rect l="l" t="t" r="r" b="b"/>
                <a:pathLst>
                  <a:path w="990126" h="720092">
                    <a:moveTo>
                      <a:pt x="0" y="0"/>
                    </a:moveTo>
                    <a:lnTo>
                      <a:pt x="720092" y="0"/>
                    </a:lnTo>
                    <a:lnTo>
                      <a:pt x="720092" y="450058"/>
                    </a:lnTo>
                    <a:lnTo>
                      <a:pt x="990126" y="720092"/>
                    </a:lnTo>
                    <a:lnTo>
                      <a:pt x="720092" y="720092"/>
                    </a:lnTo>
                    <a:lnTo>
                      <a:pt x="450057" y="720092"/>
                    </a:lnTo>
                    <a:lnTo>
                      <a:pt x="0" y="720092"/>
                    </a:lnTo>
                    <a:close/>
                  </a:path>
                </a:pathLst>
              </a:custGeom>
              <a:solidFill>
                <a:srgbClr val="0E457D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" name="文字方塊 8"/>
              <p:cNvSpPr txBox="1"/>
              <p:nvPr/>
            </p:nvSpPr>
            <p:spPr>
              <a:xfrm>
                <a:off x="1217511" y="749790"/>
                <a:ext cx="630080" cy="720092"/>
              </a:xfrm>
              <a:prstGeom prst="rect">
                <a:avLst/>
              </a:prstGeom>
              <a:solidFill>
                <a:srgbClr val="0E457D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</a:rPr>
                  <a:t>1</a:t>
                </a:r>
              </a:p>
            </p:txBody>
          </p:sp>
        </p:grpSp>
      </p:grpSp>
      <p:grpSp>
        <p:nvGrpSpPr>
          <p:cNvPr id="42" name="群組 41"/>
          <p:cNvGrpSpPr/>
          <p:nvPr/>
        </p:nvGrpSpPr>
        <p:grpSpPr>
          <a:xfrm>
            <a:off x="813678" y="2478421"/>
            <a:ext cx="10870322" cy="726266"/>
            <a:chOff x="813678" y="2453394"/>
            <a:chExt cx="10870322" cy="726266"/>
          </a:xfrm>
        </p:grpSpPr>
        <p:sp>
          <p:nvSpPr>
            <p:cNvPr id="11" name="矩形 3"/>
            <p:cNvSpPr/>
            <p:nvPr/>
          </p:nvSpPr>
          <p:spPr>
            <a:xfrm>
              <a:off x="1533770" y="2459568"/>
              <a:ext cx="10150230" cy="720092"/>
            </a:xfrm>
            <a:custGeom>
              <a:avLst/>
              <a:gdLst>
                <a:gd name="connsiteX0" fmla="*/ 0 w 6120782"/>
                <a:gd name="connsiteY0" fmla="*/ 0 h 720092"/>
                <a:gd name="connsiteX1" fmla="*/ 6120782 w 6120782"/>
                <a:gd name="connsiteY1" fmla="*/ 0 h 720092"/>
                <a:gd name="connsiteX2" fmla="*/ 6120782 w 6120782"/>
                <a:gd name="connsiteY2" fmla="*/ 720092 h 720092"/>
                <a:gd name="connsiteX3" fmla="*/ 168145 w 6120782"/>
                <a:gd name="connsiteY3" fmla="*/ 720092 h 720092"/>
                <a:gd name="connsiteX4" fmla="*/ 0 w 6120782"/>
                <a:gd name="connsiteY4" fmla="*/ 450058 h 720092"/>
                <a:gd name="connsiteX5" fmla="*/ 0 w 6120782"/>
                <a:gd name="connsiteY5" fmla="*/ 0 h 720092"/>
                <a:gd name="connsiteX0" fmla="*/ 0 w 6120782"/>
                <a:gd name="connsiteY0" fmla="*/ 0 h 720092"/>
                <a:gd name="connsiteX1" fmla="*/ 6120782 w 6120782"/>
                <a:gd name="connsiteY1" fmla="*/ 0 h 720092"/>
                <a:gd name="connsiteX2" fmla="*/ 6120782 w 6120782"/>
                <a:gd name="connsiteY2" fmla="*/ 720092 h 720092"/>
                <a:gd name="connsiteX3" fmla="*/ 156658 w 6120782"/>
                <a:gd name="connsiteY3" fmla="*/ 720092 h 720092"/>
                <a:gd name="connsiteX4" fmla="*/ 0 w 6120782"/>
                <a:gd name="connsiteY4" fmla="*/ 450058 h 720092"/>
                <a:gd name="connsiteX5" fmla="*/ 0 w 6120782"/>
                <a:gd name="connsiteY5" fmla="*/ 0 h 720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20782" h="720092">
                  <a:moveTo>
                    <a:pt x="0" y="0"/>
                  </a:moveTo>
                  <a:lnTo>
                    <a:pt x="6120782" y="0"/>
                  </a:lnTo>
                  <a:lnTo>
                    <a:pt x="6120782" y="720092"/>
                  </a:lnTo>
                  <a:lnTo>
                    <a:pt x="156658" y="720092"/>
                  </a:lnTo>
                  <a:lnTo>
                    <a:pt x="0" y="45005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5400" cap="flat" cmpd="sng" algn="ctr">
              <a:solidFill>
                <a:srgbClr val="94B6D2"/>
              </a:solidFill>
              <a:prstDash val="solid"/>
            </a:ln>
            <a:effectLst/>
          </p:spPr>
          <p:txBody>
            <a:bodyPr lIns="360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2000" kern="0" dirty="0">
                  <a:latin typeface="Calibri"/>
                  <a:ea typeface="+mn-ea"/>
                </a:rPr>
                <a:t>詳讀實驗理論，理解</a:t>
              </a:r>
              <a:r>
                <a:rPr kumimoji="0" lang="en-US" altLang="zh-TW" sz="2000" kern="0" dirty="0">
                  <a:latin typeface="Calibri"/>
                  <a:ea typeface="+mn-ea"/>
                </a:rPr>
                <a:t>Wiener Filter</a:t>
              </a:r>
              <a:r>
                <a:rPr kumimoji="0" lang="zh-TW" altLang="en-US" sz="2000" kern="0" dirty="0">
                  <a:latin typeface="Calibri"/>
                  <a:ea typeface="+mn-ea"/>
                </a:rPr>
                <a:t>與</a:t>
              </a:r>
              <a:r>
                <a:rPr kumimoji="0" lang="en-US" altLang="zh-TW" sz="2000" kern="0" dirty="0">
                  <a:latin typeface="Calibri"/>
                  <a:ea typeface="+mn-ea"/>
                </a:rPr>
                <a:t>SNR</a:t>
              </a:r>
              <a:r>
                <a:rPr kumimoji="0" lang="zh-TW" altLang="en-US" sz="2000" kern="0" dirty="0">
                  <a:latin typeface="Calibri"/>
                  <a:ea typeface="+mn-ea"/>
                </a:rPr>
                <a:t>的物理意義</a:t>
              </a:r>
            </a:p>
          </p:txBody>
        </p:sp>
        <p:grpSp>
          <p:nvGrpSpPr>
            <p:cNvPr id="12" name="群組 11"/>
            <p:cNvGrpSpPr/>
            <p:nvPr/>
          </p:nvGrpSpPr>
          <p:grpSpPr>
            <a:xfrm>
              <a:off x="813678" y="2453394"/>
              <a:ext cx="990126" cy="720000"/>
              <a:chOff x="1151563" y="1676221"/>
              <a:chExt cx="990126" cy="726266"/>
            </a:xfrm>
          </p:grpSpPr>
          <p:sp>
            <p:nvSpPr>
              <p:cNvPr id="13" name="矩形 2"/>
              <p:cNvSpPr/>
              <p:nvPr/>
            </p:nvSpPr>
            <p:spPr>
              <a:xfrm>
                <a:off x="1151563" y="1682395"/>
                <a:ext cx="990126" cy="720092"/>
              </a:xfrm>
              <a:custGeom>
                <a:avLst/>
                <a:gdLst/>
                <a:ahLst/>
                <a:cxnLst/>
                <a:rect l="l" t="t" r="r" b="b"/>
                <a:pathLst>
                  <a:path w="990126" h="720092">
                    <a:moveTo>
                      <a:pt x="0" y="0"/>
                    </a:moveTo>
                    <a:lnTo>
                      <a:pt x="720092" y="0"/>
                    </a:lnTo>
                    <a:lnTo>
                      <a:pt x="720092" y="450058"/>
                    </a:lnTo>
                    <a:lnTo>
                      <a:pt x="990126" y="720092"/>
                    </a:lnTo>
                    <a:lnTo>
                      <a:pt x="720092" y="720092"/>
                    </a:lnTo>
                    <a:lnTo>
                      <a:pt x="450057" y="720092"/>
                    </a:lnTo>
                    <a:lnTo>
                      <a:pt x="0" y="720092"/>
                    </a:lnTo>
                    <a:close/>
                  </a:path>
                </a:pathLst>
              </a:custGeom>
              <a:solidFill>
                <a:srgbClr val="94B6D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文字方塊 13"/>
              <p:cNvSpPr txBox="1"/>
              <p:nvPr/>
            </p:nvSpPr>
            <p:spPr>
              <a:xfrm>
                <a:off x="1217511" y="1676221"/>
                <a:ext cx="630080" cy="720092"/>
              </a:xfrm>
              <a:prstGeom prst="rect">
                <a:avLst/>
              </a:prstGeom>
              <a:solidFill>
                <a:srgbClr val="94B6D2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</a:rPr>
                  <a:t>2</a:t>
                </a:r>
              </a:p>
            </p:txBody>
          </p:sp>
        </p:grpSp>
      </p:grpSp>
      <p:grpSp>
        <p:nvGrpSpPr>
          <p:cNvPr id="41" name="群組 40"/>
          <p:cNvGrpSpPr/>
          <p:nvPr/>
        </p:nvGrpSpPr>
        <p:grpSpPr>
          <a:xfrm>
            <a:off x="813678" y="3328134"/>
            <a:ext cx="10870322" cy="726266"/>
            <a:chOff x="813678" y="3284984"/>
            <a:chExt cx="10870322" cy="726266"/>
          </a:xfrm>
        </p:grpSpPr>
        <p:sp>
          <p:nvSpPr>
            <p:cNvPr id="16" name="矩形 3"/>
            <p:cNvSpPr/>
            <p:nvPr/>
          </p:nvSpPr>
          <p:spPr>
            <a:xfrm>
              <a:off x="1533770" y="3291158"/>
              <a:ext cx="10150230" cy="720092"/>
            </a:xfrm>
            <a:custGeom>
              <a:avLst/>
              <a:gdLst>
                <a:gd name="connsiteX0" fmla="*/ 0 w 6120782"/>
                <a:gd name="connsiteY0" fmla="*/ 0 h 730031"/>
                <a:gd name="connsiteX1" fmla="*/ 6120782 w 6120782"/>
                <a:gd name="connsiteY1" fmla="*/ 0 h 730031"/>
                <a:gd name="connsiteX2" fmla="*/ 6120782 w 6120782"/>
                <a:gd name="connsiteY2" fmla="*/ 720092 h 730031"/>
                <a:gd name="connsiteX3" fmla="*/ 150164 w 6120782"/>
                <a:gd name="connsiteY3" fmla="*/ 730031 h 730031"/>
                <a:gd name="connsiteX4" fmla="*/ 0 w 6120782"/>
                <a:gd name="connsiteY4" fmla="*/ 450058 h 730031"/>
                <a:gd name="connsiteX5" fmla="*/ 0 w 6120782"/>
                <a:gd name="connsiteY5" fmla="*/ 0 h 730031"/>
                <a:gd name="connsiteX0" fmla="*/ 0 w 6120782"/>
                <a:gd name="connsiteY0" fmla="*/ 0 h 730031"/>
                <a:gd name="connsiteX1" fmla="*/ 6120782 w 6120782"/>
                <a:gd name="connsiteY1" fmla="*/ 0 h 730031"/>
                <a:gd name="connsiteX2" fmla="*/ 6120782 w 6120782"/>
                <a:gd name="connsiteY2" fmla="*/ 720092 h 730031"/>
                <a:gd name="connsiteX3" fmla="*/ 132183 w 6120782"/>
                <a:gd name="connsiteY3" fmla="*/ 730031 h 730031"/>
                <a:gd name="connsiteX4" fmla="*/ 0 w 6120782"/>
                <a:gd name="connsiteY4" fmla="*/ 450058 h 730031"/>
                <a:gd name="connsiteX5" fmla="*/ 0 w 6120782"/>
                <a:gd name="connsiteY5" fmla="*/ 0 h 730031"/>
                <a:gd name="connsiteX0" fmla="*/ 0 w 6120782"/>
                <a:gd name="connsiteY0" fmla="*/ 0 h 720092"/>
                <a:gd name="connsiteX1" fmla="*/ 6120782 w 6120782"/>
                <a:gd name="connsiteY1" fmla="*/ 0 h 720092"/>
                <a:gd name="connsiteX2" fmla="*/ 6120782 w 6120782"/>
                <a:gd name="connsiteY2" fmla="*/ 720092 h 720092"/>
                <a:gd name="connsiteX3" fmla="*/ 132183 w 6120782"/>
                <a:gd name="connsiteY3" fmla="*/ 720092 h 720092"/>
                <a:gd name="connsiteX4" fmla="*/ 0 w 6120782"/>
                <a:gd name="connsiteY4" fmla="*/ 450058 h 720092"/>
                <a:gd name="connsiteX5" fmla="*/ 0 w 6120782"/>
                <a:gd name="connsiteY5" fmla="*/ 0 h 720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20782" h="720092">
                  <a:moveTo>
                    <a:pt x="0" y="0"/>
                  </a:moveTo>
                  <a:lnTo>
                    <a:pt x="6120782" y="0"/>
                  </a:lnTo>
                  <a:lnTo>
                    <a:pt x="6120782" y="720092"/>
                  </a:lnTo>
                  <a:lnTo>
                    <a:pt x="132183" y="720092"/>
                  </a:lnTo>
                  <a:lnTo>
                    <a:pt x="0" y="45005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5400" cap="flat" cmpd="sng" algn="ctr">
              <a:solidFill>
                <a:srgbClr val="0E457D"/>
              </a:solidFill>
              <a:prstDash val="solid"/>
            </a:ln>
            <a:effectLst/>
          </p:spPr>
          <p:txBody>
            <a:bodyPr lIns="360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2000" kern="0" dirty="0">
                  <a:latin typeface="Calibri"/>
                  <a:ea typeface="+mn-ea"/>
                </a:rPr>
                <a:t>依照影片、投影片以及講義，練習聲音的讀取、加噪音、消噪音</a:t>
              </a:r>
            </a:p>
          </p:txBody>
        </p:sp>
        <p:grpSp>
          <p:nvGrpSpPr>
            <p:cNvPr id="17" name="群組 16"/>
            <p:cNvGrpSpPr/>
            <p:nvPr/>
          </p:nvGrpSpPr>
          <p:grpSpPr>
            <a:xfrm>
              <a:off x="813678" y="3284984"/>
              <a:ext cx="990126" cy="726266"/>
              <a:chOff x="1151563" y="2602652"/>
              <a:chExt cx="990126" cy="726266"/>
            </a:xfrm>
          </p:grpSpPr>
          <p:sp>
            <p:nvSpPr>
              <p:cNvPr id="18" name="矩形 2"/>
              <p:cNvSpPr/>
              <p:nvPr/>
            </p:nvSpPr>
            <p:spPr>
              <a:xfrm>
                <a:off x="1151563" y="2608826"/>
                <a:ext cx="990126" cy="720092"/>
              </a:xfrm>
              <a:custGeom>
                <a:avLst/>
                <a:gdLst/>
                <a:ahLst/>
                <a:cxnLst/>
                <a:rect l="l" t="t" r="r" b="b"/>
                <a:pathLst>
                  <a:path w="990126" h="720092">
                    <a:moveTo>
                      <a:pt x="0" y="0"/>
                    </a:moveTo>
                    <a:lnTo>
                      <a:pt x="720092" y="0"/>
                    </a:lnTo>
                    <a:lnTo>
                      <a:pt x="720092" y="450058"/>
                    </a:lnTo>
                    <a:lnTo>
                      <a:pt x="990126" y="720092"/>
                    </a:lnTo>
                    <a:lnTo>
                      <a:pt x="720092" y="720092"/>
                    </a:lnTo>
                    <a:lnTo>
                      <a:pt x="450057" y="720092"/>
                    </a:lnTo>
                    <a:lnTo>
                      <a:pt x="0" y="720092"/>
                    </a:lnTo>
                    <a:close/>
                  </a:path>
                </a:pathLst>
              </a:custGeom>
              <a:solidFill>
                <a:srgbClr val="0E457D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" name="文字方塊 18"/>
              <p:cNvSpPr txBox="1"/>
              <p:nvPr/>
            </p:nvSpPr>
            <p:spPr>
              <a:xfrm>
                <a:off x="1217511" y="2602652"/>
                <a:ext cx="630080" cy="720092"/>
              </a:xfrm>
              <a:prstGeom prst="rect">
                <a:avLst/>
              </a:prstGeom>
              <a:solidFill>
                <a:srgbClr val="0E457D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</a:rPr>
                  <a:t>3</a:t>
                </a:r>
              </a:p>
            </p:txBody>
          </p:sp>
        </p:grpSp>
      </p:grpSp>
      <p:grpSp>
        <p:nvGrpSpPr>
          <p:cNvPr id="40" name="群組 39"/>
          <p:cNvGrpSpPr/>
          <p:nvPr/>
        </p:nvGrpSpPr>
        <p:grpSpPr>
          <a:xfrm>
            <a:off x="813678" y="4177847"/>
            <a:ext cx="10870322" cy="726266"/>
            <a:chOff x="813678" y="4077072"/>
            <a:chExt cx="10870322" cy="726266"/>
          </a:xfrm>
        </p:grpSpPr>
        <p:sp>
          <p:nvSpPr>
            <p:cNvPr id="21" name="矩形 3"/>
            <p:cNvSpPr/>
            <p:nvPr/>
          </p:nvSpPr>
          <p:spPr>
            <a:xfrm>
              <a:off x="1533770" y="4083246"/>
              <a:ext cx="10150230" cy="720000"/>
            </a:xfrm>
            <a:custGeom>
              <a:avLst/>
              <a:gdLst>
                <a:gd name="connsiteX0" fmla="*/ 0 w 6120782"/>
                <a:gd name="connsiteY0" fmla="*/ 0 h 720092"/>
                <a:gd name="connsiteX1" fmla="*/ 6120782 w 6120782"/>
                <a:gd name="connsiteY1" fmla="*/ 0 h 720092"/>
                <a:gd name="connsiteX2" fmla="*/ 6120782 w 6120782"/>
                <a:gd name="connsiteY2" fmla="*/ 720092 h 720092"/>
                <a:gd name="connsiteX3" fmla="*/ 162817 w 6120782"/>
                <a:gd name="connsiteY3" fmla="*/ 713742 h 720092"/>
                <a:gd name="connsiteX4" fmla="*/ 0 w 6120782"/>
                <a:gd name="connsiteY4" fmla="*/ 450058 h 720092"/>
                <a:gd name="connsiteX5" fmla="*/ 0 w 6120782"/>
                <a:gd name="connsiteY5" fmla="*/ 0 h 720092"/>
                <a:gd name="connsiteX0" fmla="*/ 0 w 6120782"/>
                <a:gd name="connsiteY0" fmla="*/ 0 h 726442"/>
                <a:gd name="connsiteX1" fmla="*/ 6120782 w 6120782"/>
                <a:gd name="connsiteY1" fmla="*/ 0 h 726442"/>
                <a:gd name="connsiteX2" fmla="*/ 6120782 w 6120782"/>
                <a:gd name="connsiteY2" fmla="*/ 720092 h 726442"/>
                <a:gd name="connsiteX3" fmla="*/ 155159 w 6120782"/>
                <a:gd name="connsiteY3" fmla="*/ 726442 h 726442"/>
                <a:gd name="connsiteX4" fmla="*/ 0 w 6120782"/>
                <a:gd name="connsiteY4" fmla="*/ 450058 h 726442"/>
                <a:gd name="connsiteX5" fmla="*/ 0 w 6120782"/>
                <a:gd name="connsiteY5" fmla="*/ 0 h 726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20782" h="726442">
                  <a:moveTo>
                    <a:pt x="0" y="0"/>
                  </a:moveTo>
                  <a:lnTo>
                    <a:pt x="6120782" y="0"/>
                  </a:lnTo>
                  <a:lnTo>
                    <a:pt x="6120782" y="720092"/>
                  </a:lnTo>
                  <a:lnTo>
                    <a:pt x="155159" y="726442"/>
                  </a:lnTo>
                  <a:lnTo>
                    <a:pt x="0" y="45005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5400" cap="flat" cmpd="sng" algn="ctr">
              <a:solidFill>
                <a:srgbClr val="94B6D2"/>
              </a:solidFill>
              <a:prstDash val="solid"/>
            </a:ln>
            <a:effectLst/>
          </p:spPr>
          <p:txBody>
            <a:bodyPr lIns="360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2000" kern="0" dirty="0">
                  <a:latin typeface="Calibri"/>
                  <a:ea typeface="+mn-ea"/>
                </a:rPr>
                <a:t>依照講義</a:t>
              </a:r>
              <a:r>
                <a:rPr kumimoji="0" lang="en-US" altLang="zh-TW" sz="2000" kern="0" dirty="0">
                  <a:latin typeface="Calibri"/>
                  <a:ea typeface="+mn-ea"/>
                </a:rPr>
                <a:t>P2</a:t>
              </a:r>
              <a:r>
                <a:rPr kumimoji="0" lang="zh-TW" altLang="en-US" sz="2000" kern="0" dirty="0">
                  <a:latin typeface="Calibri"/>
                  <a:ea typeface="+mn-ea"/>
                </a:rPr>
                <a:t>的實驗步驟五，練習寫一段可以量化濾波器效能的程式</a:t>
              </a:r>
              <a:r>
                <a:rPr kumimoji="0" lang="en-US" altLang="zh-TW" sz="2000" kern="0" dirty="0">
                  <a:latin typeface="Calibri"/>
                  <a:ea typeface="+mn-ea"/>
                </a:rPr>
                <a:t>(SSNR)</a:t>
              </a:r>
            </a:p>
          </p:txBody>
        </p:sp>
        <p:grpSp>
          <p:nvGrpSpPr>
            <p:cNvPr id="22" name="群組 21"/>
            <p:cNvGrpSpPr/>
            <p:nvPr/>
          </p:nvGrpSpPr>
          <p:grpSpPr>
            <a:xfrm>
              <a:off x="813678" y="4077072"/>
              <a:ext cx="990126" cy="726266"/>
              <a:chOff x="1151563" y="3529083"/>
              <a:chExt cx="990126" cy="726266"/>
            </a:xfrm>
          </p:grpSpPr>
          <p:sp>
            <p:nvSpPr>
              <p:cNvPr id="23" name="矩形 2"/>
              <p:cNvSpPr/>
              <p:nvPr/>
            </p:nvSpPr>
            <p:spPr>
              <a:xfrm>
                <a:off x="1151563" y="3535257"/>
                <a:ext cx="990126" cy="720092"/>
              </a:xfrm>
              <a:custGeom>
                <a:avLst/>
                <a:gdLst/>
                <a:ahLst/>
                <a:cxnLst/>
                <a:rect l="l" t="t" r="r" b="b"/>
                <a:pathLst>
                  <a:path w="990126" h="720092">
                    <a:moveTo>
                      <a:pt x="0" y="0"/>
                    </a:moveTo>
                    <a:lnTo>
                      <a:pt x="720092" y="0"/>
                    </a:lnTo>
                    <a:lnTo>
                      <a:pt x="720092" y="450058"/>
                    </a:lnTo>
                    <a:lnTo>
                      <a:pt x="990126" y="720092"/>
                    </a:lnTo>
                    <a:lnTo>
                      <a:pt x="720092" y="720092"/>
                    </a:lnTo>
                    <a:lnTo>
                      <a:pt x="450057" y="720092"/>
                    </a:lnTo>
                    <a:lnTo>
                      <a:pt x="0" y="720092"/>
                    </a:lnTo>
                    <a:close/>
                  </a:path>
                </a:pathLst>
              </a:custGeom>
              <a:solidFill>
                <a:srgbClr val="94B6D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" name="文字方塊 23"/>
              <p:cNvSpPr txBox="1"/>
              <p:nvPr/>
            </p:nvSpPr>
            <p:spPr>
              <a:xfrm>
                <a:off x="1217511" y="3529083"/>
                <a:ext cx="630080" cy="720092"/>
              </a:xfrm>
              <a:prstGeom prst="rect">
                <a:avLst/>
              </a:prstGeom>
              <a:solidFill>
                <a:srgbClr val="94B6D2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</a:rPr>
                  <a:t>4</a:t>
                </a:r>
              </a:p>
            </p:txBody>
          </p:sp>
        </p:grpSp>
      </p:grpSp>
      <p:grpSp>
        <p:nvGrpSpPr>
          <p:cNvPr id="39" name="群組 38"/>
          <p:cNvGrpSpPr/>
          <p:nvPr/>
        </p:nvGrpSpPr>
        <p:grpSpPr>
          <a:xfrm>
            <a:off x="813678" y="5027560"/>
            <a:ext cx="10870322" cy="726266"/>
            <a:chOff x="813678" y="4869160"/>
            <a:chExt cx="10870322" cy="726266"/>
          </a:xfrm>
        </p:grpSpPr>
        <p:sp>
          <p:nvSpPr>
            <p:cNvPr id="26" name="矩形 3"/>
            <p:cNvSpPr/>
            <p:nvPr/>
          </p:nvSpPr>
          <p:spPr>
            <a:xfrm>
              <a:off x="1533770" y="4875334"/>
              <a:ext cx="10150230" cy="720092"/>
            </a:xfrm>
            <a:custGeom>
              <a:avLst/>
              <a:gdLst>
                <a:gd name="connsiteX0" fmla="*/ 0 w 6120782"/>
                <a:gd name="connsiteY0" fmla="*/ 0 h 720092"/>
                <a:gd name="connsiteX1" fmla="*/ 6120782 w 6120782"/>
                <a:gd name="connsiteY1" fmla="*/ 0 h 720092"/>
                <a:gd name="connsiteX2" fmla="*/ 6120782 w 6120782"/>
                <a:gd name="connsiteY2" fmla="*/ 720092 h 720092"/>
                <a:gd name="connsiteX3" fmla="*/ 158988 w 6120782"/>
                <a:gd name="connsiteY3" fmla="*/ 720092 h 720092"/>
                <a:gd name="connsiteX4" fmla="*/ 0 w 6120782"/>
                <a:gd name="connsiteY4" fmla="*/ 450058 h 720092"/>
                <a:gd name="connsiteX5" fmla="*/ 0 w 6120782"/>
                <a:gd name="connsiteY5" fmla="*/ 0 h 720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20782" h="720092">
                  <a:moveTo>
                    <a:pt x="0" y="0"/>
                  </a:moveTo>
                  <a:lnTo>
                    <a:pt x="6120782" y="0"/>
                  </a:lnTo>
                  <a:lnTo>
                    <a:pt x="6120782" y="720092"/>
                  </a:lnTo>
                  <a:lnTo>
                    <a:pt x="158988" y="720092"/>
                  </a:lnTo>
                  <a:lnTo>
                    <a:pt x="0" y="45005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5400" cap="flat" cmpd="sng" algn="ctr">
              <a:solidFill>
                <a:srgbClr val="0E457D"/>
              </a:solidFill>
              <a:prstDash val="solid"/>
            </a:ln>
            <a:effectLst/>
          </p:spPr>
          <p:txBody>
            <a:bodyPr lIns="360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2000" kern="0" dirty="0">
                  <a:latin typeface="Calibri"/>
                  <a:ea typeface="+mn-ea"/>
                </a:rPr>
                <a:t>依講義實驗理論更改程式</a:t>
              </a:r>
              <a:r>
                <a:rPr kumimoji="0" lang="en-US" sz="2000" kern="0" dirty="0">
                  <a:latin typeface="Calibri"/>
                  <a:ea typeface="+mn-ea"/>
                </a:rPr>
                <a:t>wienerscalart96.m</a:t>
              </a:r>
              <a:r>
                <a:rPr kumimoji="0" lang="zh-TW" altLang="en-US" sz="2000" kern="0" dirty="0">
                  <a:latin typeface="Calibri"/>
                  <a:ea typeface="+mn-ea"/>
                </a:rPr>
                <a:t>裡的參數，使得</a:t>
              </a:r>
              <a:r>
                <a:rPr kumimoji="0" lang="en-US" sz="2000" kern="0" dirty="0">
                  <a:latin typeface="Calibri"/>
                  <a:ea typeface="+mn-ea"/>
                </a:rPr>
                <a:t>Wiener Filter</a:t>
              </a:r>
              <a:r>
                <a:rPr kumimoji="0" lang="zh-TW" altLang="en-US" sz="2000" kern="0" dirty="0">
                  <a:latin typeface="Calibri"/>
                  <a:ea typeface="+mn-ea"/>
                </a:rPr>
                <a:t>的效能變得更好</a:t>
              </a:r>
            </a:p>
          </p:txBody>
        </p:sp>
        <p:grpSp>
          <p:nvGrpSpPr>
            <p:cNvPr id="27" name="群組 26"/>
            <p:cNvGrpSpPr/>
            <p:nvPr/>
          </p:nvGrpSpPr>
          <p:grpSpPr>
            <a:xfrm>
              <a:off x="813678" y="4869160"/>
              <a:ext cx="990126" cy="726266"/>
              <a:chOff x="1151563" y="4455514"/>
              <a:chExt cx="990126" cy="726266"/>
            </a:xfrm>
          </p:grpSpPr>
          <p:sp>
            <p:nvSpPr>
              <p:cNvPr id="28" name="矩形 2"/>
              <p:cNvSpPr/>
              <p:nvPr/>
            </p:nvSpPr>
            <p:spPr>
              <a:xfrm>
                <a:off x="1151563" y="4461688"/>
                <a:ext cx="990126" cy="720092"/>
              </a:xfrm>
              <a:custGeom>
                <a:avLst/>
                <a:gdLst/>
                <a:ahLst/>
                <a:cxnLst/>
                <a:rect l="l" t="t" r="r" b="b"/>
                <a:pathLst>
                  <a:path w="990126" h="720092">
                    <a:moveTo>
                      <a:pt x="0" y="0"/>
                    </a:moveTo>
                    <a:lnTo>
                      <a:pt x="720092" y="0"/>
                    </a:lnTo>
                    <a:lnTo>
                      <a:pt x="720092" y="450058"/>
                    </a:lnTo>
                    <a:lnTo>
                      <a:pt x="990126" y="720092"/>
                    </a:lnTo>
                    <a:lnTo>
                      <a:pt x="720092" y="720092"/>
                    </a:lnTo>
                    <a:lnTo>
                      <a:pt x="450057" y="720092"/>
                    </a:lnTo>
                    <a:lnTo>
                      <a:pt x="0" y="720092"/>
                    </a:lnTo>
                    <a:close/>
                  </a:path>
                </a:pathLst>
              </a:custGeom>
              <a:solidFill>
                <a:srgbClr val="0E457D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9" name="文字方塊 28"/>
              <p:cNvSpPr txBox="1"/>
              <p:nvPr/>
            </p:nvSpPr>
            <p:spPr>
              <a:xfrm>
                <a:off x="1217511" y="4455514"/>
                <a:ext cx="630080" cy="720092"/>
              </a:xfrm>
              <a:prstGeom prst="rect">
                <a:avLst/>
              </a:prstGeom>
              <a:solidFill>
                <a:srgbClr val="0E457D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</a:rPr>
                  <a:t>5</a:t>
                </a:r>
              </a:p>
            </p:txBody>
          </p:sp>
        </p:grpSp>
      </p:grpSp>
      <p:grpSp>
        <p:nvGrpSpPr>
          <p:cNvPr id="38" name="群組 37"/>
          <p:cNvGrpSpPr/>
          <p:nvPr/>
        </p:nvGrpSpPr>
        <p:grpSpPr>
          <a:xfrm>
            <a:off x="813678" y="5877272"/>
            <a:ext cx="10870322" cy="726266"/>
            <a:chOff x="813678" y="5661248"/>
            <a:chExt cx="10870322" cy="726266"/>
          </a:xfrm>
        </p:grpSpPr>
        <p:sp>
          <p:nvSpPr>
            <p:cNvPr id="31" name="矩形 3"/>
            <p:cNvSpPr/>
            <p:nvPr/>
          </p:nvSpPr>
          <p:spPr>
            <a:xfrm>
              <a:off x="1533770" y="5667422"/>
              <a:ext cx="10150230" cy="720092"/>
            </a:xfrm>
            <a:custGeom>
              <a:avLst/>
              <a:gdLst>
                <a:gd name="connsiteX0" fmla="*/ 0 w 6120782"/>
                <a:gd name="connsiteY0" fmla="*/ 0 h 720092"/>
                <a:gd name="connsiteX1" fmla="*/ 6120782 w 6120782"/>
                <a:gd name="connsiteY1" fmla="*/ 0 h 720092"/>
                <a:gd name="connsiteX2" fmla="*/ 6120782 w 6120782"/>
                <a:gd name="connsiteY2" fmla="*/ 720092 h 720092"/>
                <a:gd name="connsiteX3" fmla="*/ 158988 w 6120782"/>
                <a:gd name="connsiteY3" fmla="*/ 720092 h 720092"/>
                <a:gd name="connsiteX4" fmla="*/ 0 w 6120782"/>
                <a:gd name="connsiteY4" fmla="*/ 450058 h 720092"/>
                <a:gd name="connsiteX5" fmla="*/ 0 w 6120782"/>
                <a:gd name="connsiteY5" fmla="*/ 0 h 720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20782" h="720092">
                  <a:moveTo>
                    <a:pt x="0" y="0"/>
                  </a:moveTo>
                  <a:lnTo>
                    <a:pt x="6120782" y="0"/>
                  </a:lnTo>
                  <a:lnTo>
                    <a:pt x="6120782" y="720092"/>
                  </a:lnTo>
                  <a:lnTo>
                    <a:pt x="158988" y="720092"/>
                  </a:lnTo>
                  <a:lnTo>
                    <a:pt x="0" y="45005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5400" cap="flat" cmpd="sng" algn="ctr">
              <a:solidFill>
                <a:srgbClr val="94B6D2"/>
              </a:solidFill>
              <a:prstDash val="solid"/>
            </a:ln>
            <a:effectLst/>
          </p:spPr>
          <p:txBody>
            <a:bodyPr lIns="360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2000" kern="0" dirty="0">
                  <a:latin typeface="Calibri"/>
                  <a:ea typeface="+mn-ea"/>
                </a:rPr>
                <a:t>完成問題與討論裡的問題一、二、三</a:t>
              </a:r>
            </a:p>
          </p:txBody>
        </p:sp>
        <p:grpSp>
          <p:nvGrpSpPr>
            <p:cNvPr id="32" name="群組 31"/>
            <p:cNvGrpSpPr/>
            <p:nvPr/>
          </p:nvGrpSpPr>
          <p:grpSpPr>
            <a:xfrm>
              <a:off x="813678" y="5661248"/>
              <a:ext cx="990126" cy="726266"/>
              <a:chOff x="1151563" y="5381945"/>
              <a:chExt cx="990126" cy="726266"/>
            </a:xfrm>
          </p:grpSpPr>
          <p:sp>
            <p:nvSpPr>
              <p:cNvPr id="33" name="矩形 2"/>
              <p:cNvSpPr/>
              <p:nvPr/>
            </p:nvSpPr>
            <p:spPr>
              <a:xfrm>
                <a:off x="1151563" y="5388119"/>
                <a:ext cx="990126" cy="720092"/>
              </a:xfrm>
              <a:custGeom>
                <a:avLst/>
                <a:gdLst/>
                <a:ahLst/>
                <a:cxnLst/>
                <a:rect l="l" t="t" r="r" b="b"/>
                <a:pathLst>
                  <a:path w="990126" h="720092">
                    <a:moveTo>
                      <a:pt x="0" y="0"/>
                    </a:moveTo>
                    <a:lnTo>
                      <a:pt x="720092" y="0"/>
                    </a:lnTo>
                    <a:lnTo>
                      <a:pt x="720092" y="450058"/>
                    </a:lnTo>
                    <a:lnTo>
                      <a:pt x="990126" y="720092"/>
                    </a:lnTo>
                    <a:lnTo>
                      <a:pt x="720092" y="720092"/>
                    </a:lnTo>
                    <a:lnTo>
                      <a:pt x="450057" y="720092"/>
                    </a:lnTo>
                    <a:lnTo>
                      <a:pt x="0" y="720092"/>
                    </a:lnTo>
                    <a:close/>
                  </a:path>
                </a:pathLst>
              </a:custGeom>
              <a:solidFill>
                <a:srgbClr val="94B6D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文字方塊 33"/>
              <p:cNvSpPr txBox="1"/>
              <p:nvPr/>
            </p:nvSpPr>
            <p:spPr>
              <a:xfrm>
                <a:off x="1217511" y="5381945"/>
                <a:ext cx="630080" cy="720092"/>
              </a:xfrm>
              <a:prstGeom prst="rect">
                <a:avLst/>
              </a:prstGeom>
              <a:solidFill>
                <a:srgbClr val="94B6D2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</a:rPr>
                  <a:t>6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216860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問題討論</a:t>
            </a:r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3" name="object 6"/>
          <p:cNvSpPr/>
          <p:nvPr/>
        </p:nvSpPr>
        <p:spPr>
          <a:xfrm>
            <a:off x="1685468" y="277226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7"/>
          <p:cNvSpPr txBox="1"/>
          <p:nvPr/>
        </p:nvSpPr>
        <p:spPr>
          <a:xfrm>
            <a:off x="1057935" y="2463213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>
                <a:solidFill>
                  <a:srgbClr val="7E7E7E"/>
                </a:solidFill>
                <a:latin typeface="Calibri"/>
                <a:cs typeface="Calibri"/>
              </a:rPr>
              <a:t>1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5" name="object 8"/>
          <p:cNvSpPr txBox="1"/>
          <p:nvPr/>
        </p:nvSpPr>
        <p:spPr>
          <a:xfrm>
            <a:off x="1967534" y="1945575"/>
            <a:ext cx="9457058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將經過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wienerscalart96.m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消除完雜訊的音檔存檔（學號）後上傳。</a:t>
            </a:r>
            <a:endParaRPr lang="en-US" altLang="zh-TW" spc="-1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  <a:cs typeface="Calibri"/>
            </a:endParaRPr>
          </a:p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（指定使用乾淨語音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2.wav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和雜訊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horn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混合）</a:t>
            </a:r>
            <a:endParaRPr lang="pt-BR" b="1" spc="-1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Calibri"/>
            </a:endParaRPr>
          </a:p>
        </p:txBody>
      </p:sp>
      <p:sp>
        <p:nvSpPr>
          <p:cNvPr id="16" name="object 21"/>
          <p:cNvSpPr txBox="1"/>
          <p:nvPr/>
        </p:nvSpPr>
        <p:spPr>
          <a:xfrm>
            <a:off x="2062206" y="3071862"/>
            <a:ext cx="9362386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lvl="1" indent="-26670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  <a:tabLst>
                <a:tab pos="1079500" algn="l"/>
              </a:tabLst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書面報告：請使用乾淨語音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1.wav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及三種雜訊，</a:t>
            </a:r>
            <a:r>
              <a:rPr lang="zh-TW" altLang="en-US" sz="2000" dirty="0">
                <a:solidFill>
                  <a:srgbClr val="FF0000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每種雜訊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分別畫出其乾淨語音與混雜語音的波型圖與頻譜圖並比較差異。 </a:t>
            </a:r>
          </a:p>
        </p:txBody>
      </p:sp>
      <p:sp>
        <p:nvSpPr>
          <p:cNvPr id="17" name="object 5"/>
          <p:cNvSpPr/>
          <p:nvPr/>
        </p:nvSpPr>
        <p:spPr>
          <a:xfrm>
            <a:off x="695400" y="1806925"/>
            <a:ext cx="10992664" cy="1066734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8173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19135 w 5815116"/>
              <a:gd name="connsiteY5" fmla="*/ 905444 h 905444"/>
              <a:gd name="connsiteX0" fmla="*/ 199390 w 5815116"/>
              <a:gd name="connsiteY0" fmla="*/ 895350 h 914668"/>
              <a:gd name="connsiteX1" fmla="*/ 0 w 5815116"/>
              <a:gd name="connsiteY1" fmla="*/ 895350 h 914668"/>
              <a:gd name="connsiteX2" fmla="*/ 0 w 5815116"/>
              <a:gd name="connsiteY2" fmla="*/ 0 h 914668"/>
              <a:gd name="connsiteX3" fmla="*/ 5815116 w 5815116"/>
              <a:gd name="connsiteY3" fmla="*/ 0 h 914668"/>
              <a:gd name="connsiteX4" fmla="*/ 5815116 w 5815116"/>
              <a:gd name="connsiteY4" fmla="*/ 890651 h 914668"/>
              <a:gd name="connsiteX5" fmla="*/ 573608 w 5815116"/>
              <a:gd name="connsiteY5" fmla="*/ 914668 h 91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14668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73608" y="914668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bject 5"/>
          <p:cNvSpPr/>
          <p:nvPr/>
        </p:nvSpPr>
        <p:spPr>
          <a:xfrm>
            <a:off x="695400" y="4039172"/>
            <a:ext cx="10992664" cy="1421472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8173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19135 w 5815116"/>
              <a:gd name="connsiteY5" fmla="*/ 905444 h 905444"/>
              <a:gd name="connsiteX0" fmla="*/ 199390 w 5815116"/>
              <a:gd name="connsiteY0" fmla="*/ 895350 h 914668"/>
              <a:gd name="connsiteX1" fmla="*/ 0 w 5815116"/>
              <a:gd name="connsiteY1" fmla="*/ 895350 h 914668"/>
              <a:gd name="connsiteX2" fmla="*/ 0 w 5815116"/>
              <a:gd name="connsiteY2" fmla="*/ 0 h 914668"/>
              <a:gd name="connsiteX3" fmla="*/ 5815116 w 5815116"/>
              <a:gd name="connsiteY3" fmla="*/ 0 h 914668"/>
              <a:gd name="connsiteX4" fmla="*/ 5815116 w 5815116"/>
              <a:gd name="connsiteY4" fmla="*/ 890651 h 914668"/>
              <a:gd name="connsiteX5" fmla="*/ 573608 w 5815116"/>
              <a:gd name="connsiteY5" fmla="*/ 914668 h 91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14668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73608" y="914668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object 6"/>
          <p:cNvSpPr/>
          <p:nvPr/>
        </p:nvSpPr>
        <p:spPr>
          <a:xfrm>
            <a:off x="1685468" y="5366362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object 7"/>
          <p:cNvSpPr txBox="1"/>
          <p:nvPr/>
        </p:nvSpPr>
        <p:spPr>
          <a:xfrm>
            <a:off x="1057935" y="5057308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>
                <a:solidFill>
                  <a:srgbClr val="7E7E7E"/>
                </a:solidFill>
                <a:latin typeface="Calibri"/>
                <a:cs typeface="Calibri"/>
              </a:rPr>
              <a:t>2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2" name="object 8"/>
          <p:cNvSpPr txBox="1"/>
          <p:nvPr/>
        </p:nvSpPr>
        <p:spPr>
          <a:xfrm>
            <a:off x="1967533" y="4177823"/>
            <a:ext cx="9529067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利用實驗步驟五寫一段小程式使其能夠自動化一次量化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10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個乾淨語音檔對於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3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種不同雜訊 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horn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、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mouse and white noise)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、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2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種訊雜比 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10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、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50 )</a:t>
            </a:r>
            <a:r>
              <a:rPr lang="zh-TW" altLang="en-US" spc="-10" dirty="0">
                <a:solidFill>
                  <a:srgbClr val="FF00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總共六種的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組合，並製作表格來說明數據，</a:t>
            </a:r>
            <a:r>
              <a:rPr lang="zh-TW" altLang="en-US" u="sng" spc="-1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請觀察並比較其數據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，說明之。</a:t>
            </a:r>
          </a:p>
        </p:txBody>
      </p:sp>
      <p:sp>
        <p:nvSpPr>
          <p:cNvPr id="23" name="object 21"/>
          <p:cNvSpPr txBox="1"/>
          <p:nvPr/>
        </p:nvSpPr>
        <p:spPr>
          <a:xfrm>
            <a:off x="2062206" y="5746031"/>
            <a:ext cx="9362386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lvl="1" indent="-26670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  <a:tabLst>
                <a:tab pos="1079500" algn="l"/>
              </a:tabLst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例如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: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使用乾淨語音’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3’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、噪音’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horn’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、訊雜比為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10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時，量化出來的值為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12.2072</a:t>
            </a:r>
          </a:p>
        </p:txBody>
      </p:sp>
    </p:spTree>
    <p:extLst>
      <p:ext uri="{BB962C8B-B14F-4D97-AF65-F5344CB8AC3E}">
        <p14:creationId xmlns:p14="http://schemas.microsoft.com/office/powerpoint/2010/main" val="32897448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問題討論 </a:t>
            </a:r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9" name="object 5"/>
          <p:cNvSpPr/>
          <p:nvPr/>
        </p:nvSpPr>
        <p:spPr>
          <a:xfrm>
            <a:off x="695400" y="1826668"/>
            <a:ext cx="10992664" cy="1421472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8173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19135 w 5815116"/>
              <a:gd name="connsiteY5" fmla="*/ 905444 h 905444"/>
              <a:gd name="connsiteX0" fmla="*/ 199390 w 5815116"/>
              <a:gd name="connsiteY0" fmla="*/ 895350 h 914668"/>
              <a:gd name="connsiteX1" fmla="*/ 0 w 5815116"/>
              <a:gd name="connsiteY1" fmla="*/ 895350 h 914668"/>
              <a:gd name="connsiteX2" fmla="*/ 0 w 5815116"/>
              <a:gd name="connsiteY2" fmla="*/ 0 h 914668"/>
              <a:gd name="connsiteX3" fmla="*/ 5815116 w 5815116"/>
              <a:gd name="connsiteY3" fmla="*/ 0 h 914668"/>
              <a:gd name="connsiteX4" fmla="*/ 5815116 w 5815116"/>
              <a:gd name="connsiteY4" fmla="*/ 890651 h 914668"/>
              <a:gd name="connsiteX5" fmla="*/ 573608 w 5815116"/>
              <a:gd name="connsiteY5" fmla="*/ 914668 h 91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14668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73608" y="914668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object 6"/>
          <p:cNvSpPr/>
          <p:nvPr/>
        </p:nvSpPr>
        <p:spPr>
          <a:xfrm>
            <a:off x="1685468" y="3153858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object 7"/>
          <p:cNvSpPr txBox="1"/>
          <p:nvPr/>
        </p:nvSpPr>
        <p:spPr>
          <a:xfrm>
            <a:off x="1057935" y="2844804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>
                <a:solidFill>
                  <a:srgbClr val="7E7E7E"/>
                </a:solidFill>
                <a:latin typeface="Calibri"/>
                <a:cs typeface="Calibri"/>
              </a:rPr>
              <a:t>3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2" name="object 8"/>
          <p:cNvSpPr txBox="1"/>
          <p:nvPr/>
        </p:nvSpPr>
        <p:spPr>
          <a:xfrm>
            <a:off x="1967533" y="1965319"/>
            <a:ext cx="9529067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調整程式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wienerscalart96.m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裡的參數，使得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Wiener Filter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消除雜訊的效能變得更好，並製作與問題三相同的表格，並觀察比較修改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wienerscalart96.m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參數前後的量化值</a:t>
            </a:r>
          </a:p>
        </p:txBody>
      </p:sp>
    </p:spTree>
    <p:extLst>
      <p:ext uri="{BB962C8B-B14F-4D97-AF65-F5344CB8AC3E}">
        <p14:creationId xmlns:p14="http://schemas.microsoft.com/office/powerpoint/2010/main" val="12645325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Question </a:t>
            </a:r>
            <a:endParaRPr lang="zh-TW" altLang="en-US" dirty="0"/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3" name="object 6"/>
          <p:cNvSpPr/>
          <p:nvPr/>
        </p:nvSpPr>
        <p:spPr>
          <a:xfrm>
            <a:off x="1685468" y="277226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7"/>
          <p:cNvSpPr txBox="1"/>
          <p:nvPr/>
        </p:nvSpPr>
        <p:spPr>
          <a:xfrm>
            <a:off x="1057935" y="2463213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>
                <a:solidFill>
                  <a:srgbClr val="7E7E7E"/>
                </a:solidFill>
                <a:latin typeface="Calibri"/>
                <a:cs typeface="Calibri"/>
              </a:rPr>
              <a:t>1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5" name="object 8"/>
          <p:cNvSpPr txBox="1"/>
          <p:nvPr/>
        </p:nvSpPr>
        <p:spPr>
          <a:xfrm>
            <a:off x="1967534" y="1945575"/>
            <a:ext cx="9457058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Use wienerscalart96.m to remove the noise. Save the output into a </a:t>
            </a:r>
            <a:r>
              <a:rPr lang="en-US" altLang="zh-TW" spc="-10" dirty="0" err="1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wav.file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 and load it.</a:t>
            </a:r>
            <a:endParaRPr lang="pt-BR" b="1" spc="-1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Calibri"/>
            </a:endParaRPr>
          </a:p>
        </p:txBody>
      </p:sp>
      <p:sp>
        <p:nvSpPr>
          <p:cNvPr id="17" name="object 5"/>
          <p:cNvSpPr/>
          <p:nvPr/>
        </p:nvSpPr>
        <p:spPr>
          <a:xfrm>
            <a:off x="695400" y="1806925"/>
            <a:ext cx="10992664" cy="1066734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8173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19135 w 5815116"/>
              <a:gd name="connsiteY5" fmla="*/ 905444 h 905444"/>
              <a:gd name="connsiteX0" fmla="*/ 199390 w 5815116"/>
              <a:gd name="connsiteY0" fmla="*/ 895350 h 914668"/>
              <a:gd name="connsiteX1" fmla="*/ 0 w 5815116"/>
              <a:gd name="connsiteY1" fmla="*/ 895350 h 914668"/>
              <a:gd name="connsiteX2" fmla="*/ 0 w 5815116"/>
              <a:gd name="connsiteY2" fmla="*/ 0 h 914668"/>
              <a:gd name="connsiteX3" fmla="*/ 5815116 w 5815116"/>
              <a:gd name="connsiteY3" fmla="*/ 0 h 914668"/>
              <a:gd name="connsiteX4" fmla="*/ 5815116 w 5815116"/>
              <a:gd name="connsiteY4" fmla="*/ 890651 h 914668"/>
              <a:gd name="connsiteX5" fmla="*/ 573608 w 5815116"/>
              <a:gd name="connsiteY5" fmla="*/ 914668 h 91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14668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73608" y="914668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object 6"/>
          <p:cNvSpPr/>
          <p:nvPr/>
        </p:nvSpPr>
        <p:spPr>
          <a:xfrm>
            <a:off x="1686814" y="450226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7"/>
          <p:cNvSpPr txBox="1"/>
          <p:nvPr/>
        </p:nvSpPr>
        <p:spPr>
          <a:xfrm>
            <a:off x="1059281" y="4193212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>
                <a:solidFill>
                  <a:srgbClr val="7E7E7E"/>
                </a:solidFill>
                <a:latin typeface="Calibri"/>
                <a:cs typeface="Calibri"/>
              </a:rPr>
              <a:t>2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0" name="object 8"/>
          <p:cNvSpPr txBox="1"/>
          <p:nvPr/>
        </p:nvSpPr>
        <p:spPr>
          <a:xfrm>
            <a:off x="1968880" y="3675574"/>
            <a:ext cx="945571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Write a short code that enable you to calculate the SSNRI.</a:t>
            </a:r>
            <a:b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</a:b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 (for ’3.wav’,’horn.wav’,’snr=10’)</a:t>
            </a:r>
          </a:p>
        </p:txBody>
      </p:sp>
      <p:sp>
        <p:nvSpPr>
          <p:cNvPr id="31" name="object 5"/>
          <p:cNvSpPr/>
          <p:nvPr/>
        </p:nvSpPr>
        <p:spPr>
          <a:xfrm>
            <a:off x="696746" y="3536924"/>
            <a:ext cx="10991318" cy="1055976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7538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595703 w 5815116"/>
              <a:gd name="connsiteY5" fmla="*/ 905444 h 905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05444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95703" y="905444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" name="object 6"/>
          <p:cNvSpPr/>
          <p:nvPr/>
        </p:nvSpPr>
        <p:spPr>
          <a:xfrm>
            <a:off x="1701268" y="614255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3" name="object 7"/>
          <p:cNvSpPr txBox="1"/>
          <p:nvPr/>
        </p:nvSpPr>
        <p:spPr>
          <a:xfrm>
            <a:off x="1073735" y="5833505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>
                <a:solidFill>
                  <a:srgbClr val="7E7E7E"/>
                </a:solidFill>
                <a:latin typeface="Calibri"/>
                <a:cs typeface="Calibri"/>
              </a:rPr>
              <a:t>3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4" name="object 8"/>
          <p:cNvSpPr txBox="1"/>
          <p:nvPr/>
        </p:nvSpPr>
        <p:spPr>
          <a:xfrm>
            <a:off x="1983334" y="5315867"/>
            <a:ext cx="945571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Adjust the parameter in wienerscalart96.m to make Wiener Filter’s performance improve.</a:t>
            </a:r>
          </a:p>
        </p:txBody>
      </p:sp>
      <p:sp>
        <p:nvSpPr>
          <p:cNvPr id="35" name="object 5"/>
          <p:cNvSpPr/>
          <p:nvPr/>
        </p:nvSpPr>
        <p:spPr>
          <a:xfrm>
            <a:off x="711200" y="5177217"/>
            <a:ext cx="10991318" cy="1055976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7538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595703 w 5815116"/>
              <a:gd name="connsiteY5" fmla="*/ 905444 h 905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05444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95703" y="905444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073917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補充說明</a:t>
            </a:r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6080" y="1930400"/>
            <a:ext cx="5210175" cy="3914775"/>
          </a:xfrm>
          <a:prstGeom prst="rect">
            <a:avLst/>
          </a:prstGeom>
        </p:spPr>
      </p:pic>
      <p:sp>
        <p:nvSpPr>
          <p:cNvPr id="5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1683251" y="1897087"/>
            <a:ext cx="2263440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繪出頻譜圖</a:t>
            </a: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kumimoji="0" lang="en-US" altLang="zh-TW" sz="2000" b="1" dirty="0" err="1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Matlab</a:t>
            </a: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</a:p>
        </p:txBody>
      </p:sp>
      <p:sp>
        <p:nvSpPr>
          <p:cNvPr id="8" name="Oval 77"/>
          <p:cNvSpPr>
            <a:spLocks noChangeArrowheads="1"/>
          </p:cNvSpPr>
          <p:nvPr/>
        </p:nvSpPr>
        <p:spPr bwMode="auto">
          <a:xfrm>
            <a:off x="1007630" y="1902193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pic>
        <p:nvPicPr>
          <p:cNvPr id="9" name="圖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76" y="2349499"/>
            <a:ext cx="6229350" cy="3076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6022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補充說明</a:t>
            </a:r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 rotWithShape="1">
          <a:blip r:embed="rId2"/>
          <a:srcRect l="52443" t="23373" r="5094" b="10034"/>
          <a:stretch/>
        </p:blipFill>
        <p:spPr>
          <a:xfrm>
            <a:off x="495035" y="1652789"/>
            <a:ext cx="5525036" cy="4871433"/>
          </a:xfrm>
          <a:prstGeom prst="rect">
            <a:avLst/>
          </a:prstGeom>
        </p:spPr>
      </p:pic>
      <p:pic>
        <p:nvPicPr>
          <p:cNvPr id="5" name="圖片 4"/>
          <p:cNvPicPr>
            <a:picLocks noChangeAspect="1"/>
          </p:cNvPicPr>
          <p:nvPr/>
        </p:nvPicPr>
        <p:blipFill rotWithShape="1">
          <a:blip r:embed="rId3"/>
          <a:srcRect l="20569" t="33370" r="37660" b="15362"/>
          <a:stretch/>
        </p:blipFill>
        <p:spPr>
          <a:xfrm>
            <a:off x="6319235" y="2352128"/>
            <a:ext cx="5434884" cy="3750365"/>
          </a:xfrm>
          <a:prstGeom prst="rect">
            <a:avLst/>
          </a:prstGeom>
        </p:spPr>
      </p:pic>
      <p:sp>
        <p:nvSpPr>
          <p:cNvPr id="6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06454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繪出頻譜圖 </a:t>
            </a:r>
            <a:r>
              <a:rPr lang="en-US" altLang="zh-TW" dirty="0"/>
              <a:t>(</a:t>
            </a:r>
            <a:r>
              <a:rPr lang="en-US" altLang="zh-TW" dirty="0" err="1"/>
              <a:t>cooledit</a:t>
            </a:r>
            <a:r>
              <a:rPr lang="en-US" altLang="zh-TW" dirty="0"/>
              <a:t>)</a:t>
            </a:r>
            <a:endParaRPr lang="zh-TW" altLang="en-US" dirty="0"/>
          </a:p>
        </p:txBody>
      </p:sp>
      <p:pic>
        <p:nvPicPr>
          <p:cNvPr id="4" name="圖片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3592" y="3501008"/>
            <a:ext cx="7776864" cy="295232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6" name="圖片 5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33" t="5435" r="65809" b="89262"/>
          <a:stretch/>
        </p:blipFill>
        <p:spPr bwMode="auto">
          <a:xfrm>
            <a:off x="4583832" y="3356992"/>
            <a:ext cx="720080" cy="576064"/>
          </a:xfrm>
          <a:prstGeom prst="rect">
            <a:avLst/>
          </a:prstGeom>
          <a:noFill/>
          <a:ln w="38100">
            <a:solidFill>
              <a:srgbClr val="FFFFFF"/>
            </a:solidFill>
          </a:ln>
          <a:effectLst>
            <a:outerShdw blurRad="254000" sx="102000" sy="102000" algn="ctr" rotWithShape="0">
              <a:srgbClr val="000000">
                <a:alpha val="40000"/>
              </a:srgbClr>
            </a:outerShdw>
          </a:effectLst>
        </p:spPr>
      </p:pic>
      <p:sp>
        <p:nvSpPr>
          <p:cNvPr id="8" name="Text Placeholder 3"/>
          <p:cNvSpPr txBox="1">
            <a:spLocks/>
          </p:cNvSpPr>
          <p:nvPr/>
        </p:nvSpPr>
        <p:spPr>
          <a:xfrm>
            <a:off x="1683251" y="1746242"/>
            <a:ext cx="982641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 err="1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cooledit</a:t>
            </a:r>
            <a:endParaRPr kumimoji="0" lang="en-US" altLang="zh-TW" sz="2000" b="1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9" name="Oval 77"/>
          <p:cNvSpPr>
            <a:spLocks noChangeArrowheads="1"/>
          </p:cNvSpPr>
          <p:nvPr/>
        </p:nvSpPr>
        <p:spPr bwMode="auto">
          <a:xfrm>
            <a:off x="1007630" y="175134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10" name="Freeform 359"/>
          <p:cNvSpPr>
            <a:spLocks noChangeAspect="1"/>
          </p:cNvSpPr>
          <p:nvPr/>
        </p:nvSpPr>
        <p:spPr>
          <a:xfrm>
            <a:off x="1487520" y="2336925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1956302" y="2336925"/>
            <a:ext cx="8322791" cy="67710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可下載</a:t>
            </a:r>
            <a:r>
              <a:rPr kumimoji="0" lang="en-US" altLang="zh-TW" sz="2000" dirty="0" err="1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cooledit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音訊編輯軟體顯示音軌頻譜圖，可將輸入以及輸出的頻譜圖</a:t>
            </a:r>
            <a:endParaRPr kumimoji="0" lang="en-US" altLang="zh-TW" sz="20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畫出做比較將音訊檔案丟入</a:t>
            </a:r>
            <a:r>
              <a:rPr kumimoji="0" lang="en-US" altLang="zh-TW" sz="2000" dirty="0" err="1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cooledit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中，按照圖示點選顯示頻譜圖。</a:t>
            </a:r>
          </a:p>
        </p:txBody>
      </p:sp>
    </p:spTree>
    <p:extLst>
      <p:ext uri="{BB962C8B-B14F-4D97-AF65-F5344CB8AC3E}">
        <p14:creationId xmlns:p14="http://schemas.microsoft.com/office/powerpoint/2010/main" val="20024845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24440" y="2701326"/>
            <a:ext cx="5419185" cy="727674"/>
          </a:xfrm>
        </p:spPr>
        <p:txBody>
          <a:bodyPr>
            <a:noAutofit/>
          </a:bodyPr>
          <a:lstStyle/>
          <a:p>
            <a:r>
              <a:rPr lang="en-US" altLang="zh-CN" sz="4400" dirty="0"/>
              <a:t>ECHO </a:t>
            </a:r>
            <a:endParaRPr lang="zh-CN" altLang="en-US" sz="44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6FFC11D-3423-45DD-9BC2-44A308075CFB}"/>
              </a:ext>
            </a:extLst>
          </p:cNvPr>
          <p:cNvSpPr txBox="1"/>
          <p:nvPr/>
        </p:nvSpPr>
        <p:spPr>
          <a:xfrm>
            <a:off x="3316529" y="1562028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12529F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01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12529F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3063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24440" y="2701326"/>
            <a:ext cx="5419185" cy="727674"/>
          </a:xfrm>
        </p:spPr>
        <p:txBody>
          <a:bodyPr>
            <a:noAutofit/>
          </a:bodyPr>
          <a:lstStyle/>
          <a:p>
            <a:r>
              <a:rPr lang="en-US" altLang="zh-CN" sz="4400" dirty="0"/>
              <a:t>NOISE</a:t>
            </a:r>
            <a:endParaRPr lang="zh-CN" altLang="en-US" sz="44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6FFC11D-3423-45DD-9BC2-44A308075CFB}"/>
              </a:ext>
            </a:extLst>
          </p:cNvPr>
          <p:cNvSpPr txBox="1"/>
          <p:nvPr/>
        </p:nvSpPr>
        <p:spPr>
          <a:xfrm>
            <a:off x="3316529" y="1562028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12529F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01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12529F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6739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教學影片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D0BA13-1C5E-40B6-BB8D-C972D465206B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zh-TW" alt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"/>
          </p:nvPr>
        </p:nvSpPr>
        <p:spPr>
          <a:xfrm>
            <a:off x="5960602" y="3056895"/>
            <a:ext cx="1935598" cy="46085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TW" altLang="en-US" sz="2800" dirty="0">
                <a:uFill>
                  <a:solidFill>
                    <a:srgbClr val="0000FF"/>
                  </a:solidFill>
                </a:uFill>
                <a:hlinkClick r:id="rId2"/>
              </a:rPr>
              <a:t>影片教學</a:t>
            </a:r>
            <a:endParaRPr lang="en-US" altLang="zh-TW" sz="2800" dirty="0">
              <a:uFill>
                <a:solidFill>
                  <a:srgbClr val="0000FF"/>
                </a:solidFill>
              </a:uFill>
              <a:hlinkClick r:id="rId3"/>
            </a:endParaRPr>
          </a:p>
        </p:txBody>
      </p:sp>
      <p:sp>
        <p:nvSpPr>
          <p:cNvPr id="7" name="object 3"/>
          <p:cNvSpPr>
            <a:spLocks noChangeAspect="1"/>
          </p:cNvSpPr>
          <p:nvPr/>
        </p:nvSpPr>
        <p:spPr>
          <a:xfrm>
            <a:off x="7464152" y="3645024"/>
            <a:ext cx="1152128" cy="1600885"/>
          </a:xfrm>
          <a:custGeom>
            <a:avLst/>
            <a:gdLst/>
            <a:ahLst/>
            <a:cxnLst/>
            <a:rect l="l" t="t" r="r" b="b"/>
            <a:pathLst>
              <a:path w="1669415" h="2319654">
                <a:moveTo>
                  <a:pt x="659119" y="0"/>
                </a:moveTo>
                <a:lnTo>
                  <a:pt x="584951" y="0"/>
                </a:lnTo>
                <a:lnTo>
                  <a:pt x="584951" y="290195"/>
                </a:lnTo>
                <a:lnTo>
                  <a:pt x="659119" y="290195"/>
                </a:lnTo>
                <a:lnTo>
                  <a:pt x="659119" y="0"/>
                </a:lnTo>
                <a:close/>
              </a:path>
              <a:path w="1669415" h="2319654">
                <a:moveTo>
                  <a:pt x="225446" y="1036447"/>
                </a:moveTo>
                <a:lnTo>
                  <a:pt x="70194" y="1036447"/>
                </a:lnTo>
                <a:lnTo>
                  <a:pt x="53603" y="1049147"/>
                </a:lnTo>
                <a:lnTo>
                  <a:pt x="19275" y="1087247"/>
                </a:lnTo>
                <a:lnTo>
                  <a:pt x="743" y="1138047"/>
                </a:lnTo>
                <a:lnTo>
                  <a:pt x="0" y="1163447"/>
                </a:lnTo>
                <a:lnTo>
                  <a:pt x="4424" y="1201547"/>
                </a:lnTo>
                <a:lnTo>
                  <a:pt x="13632" y="1226947"/>
                </a:lnTo>
                <a:lnTo>
                  <a:pt x="27238" y="1265047"/>
                </a:lnTo>
                <a:lnTo>
                  <a:pt x="44856" y="1303147"/>
                </a:lnTo>
                <a:lnTo>
                  <a:pt x="66101" y="1341247"/>
                </a:lnTo>
                <a:lnTo>
                  <a:pt x="90588" y="1379347"/>
                </a:lnTo>
                <a:lnTo>
                  <a:pt x="117931" y="1430147"/>
                </a:lnTo>
                <a:lnTo>
                  <a:pt x="147746" y="1480947"/>
                </a:lnTo>
                <a:lnTo>
                  <a:pt x="179647" y="1519047"/>
                </a:lnTo>
                <a:lnTo>
                  <a:pt x="213248" y="1569847"/>
                </a:lnTo>
                <a:lnTo>
                  <a:pt x="248165" y="1620647"/>
                </a:lnTo>
                <a:lnTo>
                  <a:pt x="284012" y="1684147"/>
                </a:lnTo>
                <a:lnTo>
                  <a:pt x="320404" y="1734947"/>
                </a:lnTo>
                <a:lnTo>
                  <a:pt x="356955" y="1798447"/>
                </a:lnTo>
                <a:lnTo>
                  <a:pt x="393281" y="1861947"/>
                </a:lnTo>
                <a:lnTo>
                  <a:pt x="428995" y="1925447"/>
                </a:lnTo>
                <a:lnTo>
                  <a:pt x="454095" y="1963547"/>
                </a:lnTo>
                <a:lnTo>
                  <a:pt x="480241" y="2001647"/>
                </a:lnTo>
                <a:lnTo>
                  <a:pt x="507366" y="2039747"/>
                </a:lnTo>
                <a:lnTo>
                  <a:pt x="535407" y="2077847"/>
                </a:lnTo>
                <a:lnTo>
                  <a:pt x="564298" y="2115947"/>
                </a:lnTo>
                <a:lnTo>
                  <a:pt x="593974" y="2141347"/>
                </a:lnTo>
                <a:lnTo>
                  <a:pt x="624369" y="2166747"/>
                </a:lnTo>
                <a:lnTo>
                  <a:pt x="655419" y="2192147"/>
                </a:lnTo>
                <a:lnTo>
                  <a:pt x="687058" y="2217547"/>
                </a:lnTo>
                <a:lnTo>
                  <a:pt x="719222" y="2230247"/>
                </a:lnTo>
                <a:lnTo>
                  <a:pt x="751845" y="2255647"/>
                </a:lnTo>
                <a:lnTo>
                  <a:pt x="885624" y="2306447"/>
                </a:lnTo>
                <a:lnTo>
                  <a:pt x="919565" y="2306447"/>
                </a:lnTo>
                <a:lnTo>
                  <a:pt x="953574" y="2319147"/>
                </a:lnTo>
                <a:lnTo>
                  <a:pt x="1154540" y="2319147"/>
                </a:lnTo>
                <a:lnTo>
                  <a:pt x="1248757" y="2293747"/>
                </a:lnTo>
                <a:lnTo>
                  <a:pt x="1293601" y="2281047"/>
                </a:lnTo>
                <a:lnTo>
                  <a:pt x="1336721" y="2255647"/>
                </a:lnTo>
                <a:lnTo>
                  <a:pt x="1015522" y="2255647"/>
                </a:lnTo>
                <a:lnTo>
                  <a:pt x="977277" y="2242947"/>
                </a:lnTo>
                <a:lnTo>
                  <a:pt x="940566" y="2242947"/>
                </a:lnTo>
                <a:lnTo>
                  <a:pt x="905333" y="2230247"/>
                </a:lnTo>
                <a:lnTo>
                  <a:pt x="871519" y="2230247"/>
                </a:lnTo>
                <a:lnTo>
                  <a:pt x="839067" y="2217547"/>
                </a:lnTo>
                <a:lnTo>
                  <a:pt x="807920" y="2204847"/>
                </a:lnTo>
                <a:lnTo>
                  <a:pt x="778020" y="2192147"/>
                </a:lnTo>
                <a:lnTo>
                  <a:pt x="749309" y="2166747"/>
                </a:lnTo>
                <a:lnTo>
                  <a:pt x="721730" y="2154047"/>
                </a:lnTo>
                <a:lnTo>
                  <a:pt x="695226" y="2128647"/>
                </a:lnTo>
                <a:lnTo>
                  <a:pt x="669739" y="2115947"/>
                </a:lnTo>
                <a:lnTo>
                  <a:pt x="645210" y="2090547"/>
                </a:lnTo>
                <a:lnTo>
                  <a:pt x="621584" y="2065147"/>
                </a:lnTo>
                <a:lnTo>
                  <a:pt x="598802" y="2039747"/>
                </a:lnTo>
                <a:lnTo>
                  <a:pt x="576807" y="2014347"/>
                </a:lnTo>
                <a:lnTo>
                  <a:pt x="555541" y="1976247"/>
                </a:lnTo>
                <a:lnTo>
                  <a:pt x="534947" y="1950847"/>
                </a:lnTo>
                <a:lnTo>
                  <a:pt x="514967" y="1925447"/>
                </a:lnTo>
                <a:lnTo>
                  <a:pt x="495543" y="1887347"/>
                </a:lnTo>
                <a:lnTo>
                  <a:pt x="453950" y="1823847"/>
                </a:lnTo>
                <a:lnTo>
                  <a:pt x="413664" y="1747647"/>
                </a:lnTo>
                <a:lnTo>
                  <a:pt x="374841" y="1696847"/>
                </a:lnTo>
                <a:lnTo>
                  <a:pt x="337636" y="1633347"/>
                </a:lnTo>
                <a:lnTo>
                  <a:pt x="302204" y="1582547"/>
                </a:lnTo>
                <a:lnTo>
                  <a:pt x="268700" y="1531747"/>
                </a:lnTo>
                <a:lnTo>
                  <a:pt x="237280" y="1480947"/>
                </a:lnTo>
                <a:lnTo>
                  <a:pt x="208099" y="1430147"/>
                </a:lnTo>
                <a:lnTo>
                  <a:pt x="181311" y="1392047"/>
                </a:lnTo>
                <a:lnTo>
                  <a:pt x="157072" y="1353947"/>
                </a:lnTo>
                <a:lnTo>
                  <a:pt x="135538" y="1315847"/>
                </a:lnTo>
                <a:lnTo>
                  <a:pt x="116863" y="1277747"/>
                </a:lnTo>
                <a:lnTo>
                  <a:pt x="101202" y="1252347"/>
                </a:lnTo>
                <a:lnTo>
                  <a:pt x="88711" y="1226947"/>
                </a:lnTo>
                <a:lnTo>
                  <a:pt x="79545" y="1201547"/>
                </a:lnTo>
                <a:lnTo>
                  <a:pt x="73859" y="1176147"/>
                </a:lnTo>
                <a:lnTo>
                  <a:pt x="71807" y="1163447"/>
                </a:lnTo>
                <a:lnTo>
                  <a:pt x="73547" y="1138047"/>
                </a:lnTo>
                <a:lnTo>
                  <a:pt x="79231" y="1125347"/>
                </a:lnTo>
                <a:lnTo>
                  <a:pt x="89016" y="1112647"/>
                </a:lnTo>
                <a:lnTo>
                  <a:pt x="101765" y="1099947"/>
                </a:lnTo>
                <a:lnTo>
                  <a:pt x="333775" y="1099947"/>
                </a:lnTo>
                <a:lnTo>
                  <a:pt x="246773" y="1049147"/>
                </a:lnTo>
                <a:lnTo>
                  <a:pt x="225446" y="1036447"/>
                </a:lnTo>
                <a:close/>
              </a:path>
              <a:path w="1669415" h="2319654">
                <a:moveTo>
                  <a:pt x="1594855" y="1709547"/>
                </a:moveTo>
                <a:lnTo>
                  <a:pt x="1593076" y="1747647"/>
                </a:lnTo>
                <a:lnTo>
                  <a:pt x="1587828" y="1798447"/>
                </a:lnTo>
                <a:lnTo>
                  <a:pt x="1579248" y="1836547"/>
                </a:lnTo>
                <a:lnTo>
                  <a:pt x="1567472" y="1874647"/>
                </a:lnTo>
                <a:lnTo>
                  <a:pt x="1552636" y="1912747"/>
                </a:lnTo>
                <a:lnTo>
                  <a:pt x="1534875" y="1950847"/>
                </a:lnTo>
                <a:lnTo>
                  <a:pt x="1514327" y="1988947"/>
                </a:lnTo>
                <a:lnTo>
                  <a:pt x="1491126" y="2027047"/>
                </a:lnTo>
                <a:lnTo>
                  <a:pt x="1465409" y="2052447"/>
                </a:lnTo>
                <a:lnTo>
                  <a:pt x="1437312" y="2090547"/>
                </a:lnTo>
                <a:lnTo>
                  <a:pt x="1406971" y="2115947"/>
                </a:lnTo>
                <a:lnTo>
                  <a:pt x="1374522" y="2141347"/>
                </a:lnTo>
                <a:lnTo>
                  <a:pt x="1340100" y="2166747"/>
                </a:lnTo>
                <a:lnTo>
                  <a:pt x="1303843" y="2192147"/>
                </a:lnTo>
                <a:lnTo>
                  <a:pt x="1265886" y="2204847"/>
                </a:lnTo>
                <a:lnTo>
                  <a:pt x="1226364" y="2230247"/>
                </a:lnTo>
                <a:lnTo>
                  <a:pt x="1185415" y="2242947"/>
                </a:lnTo>
                <a:lnTo>
                  <a:pt x="1143174" y="2242947"/>
                </a:lnTo>
                <a:lnTo>
                  <a:pt x="1099777" y="2255647"/>
                </a:lnTo>
                <a:lnTo>
                  <a:pt x="1336721" y="2255647"/>
                </a:lnTo>
                <a:lnTo>
                  <a:pt x="1377956" y="2230247"/>
                </a:lnTo>
                <a:lnTo>
                  <a:pt x="1417143" y="2204847"/>
                </a:lnTo>
                <a:lnTo>
                  <a:pt x="1454122" y="2179447"/>
                </a:lnTo>
                <a:lnTo>
                  <a:pt x="1488731" y="2141347"/>
                </a:lnTo>
                <a:lnTo>
                  <a:pt x="1520810" y="2115947"/>
                </a:lnTo>
                <a:lnTo>
                  <a:pt x="1550196" y="2077847"/>
                </a:lnTo>
                <a:lnTo>
                  <a:pt x="1576729" y="2039747"/>
                </a:lnTo>
                <a:lnTo>
                  <a:pt x="1600248" y="1988947"/>
                </a:lnTo>
                <a:lnTo>
                  <a:pt x="1620591" y="1950847"/>
                </a:lnTo>
                <a:lnTo>
                  <a:pt x="1637596" y="1900047"/>
                </a:lnTo>
                <a:lnTo>
                  <a:pt x="1651104" y="1861947"/>
                </a:lnTo>
                <a:lnTo>
                  <a:pt x="1660952" y="1811147"/>
                </a:lnTo>
                <a:lnTo>
                  <a:pt x="1663965" y="1785747"/>
                </a:lnTo>
                <a:lnTo>
                  <a:pt x="1594855" y="1785747"/>
                </a:lnTo>
                <a:lnTo>
                  <a:pt x="1594855" y="1709547"/>
                </a:lnTo>
                <a:close/>
              </a:path>
              <a:path w="1669415" h="2319654">
                <a:moveTo>
                  <a:pt x="1633016" y="1163447"/>
                </a:moveTo>
                <a:lnTo>
                  <a:pt x="1518208" y="1163447"/>
                </a:lnTo>
                <a:lnTo>
                  <a:pt x="1531372" y="1176147"/>
                </a:lnTo>
                <a:lnTo>
                  <a:pt x="1543591" y="1176147"/>
                </a:lnTo>
                <a:lnTo>
                  <a:pt x="1554760" y="1188847"/>
                </a:lnTo>
                <a:lnTo>
                  <a:pt x="1564776" y="1201547"/>
                </a:lnTo>
                <a:lnTo>
                  <a:pt x="1573535" y="1214247"/>
                </a:lnTo>
                <a:lnTo>
                  <a:pt x="1580934" y="1214247"/>
                </a:lnTo>
                <a:lnTo>
                  <a:pt x="1586869" y="1226947"/>
                </a:lnTo>
                <a:lnTo>
                  <a:pt x="1591237" y="1239647"/>
                </a:lnTo>
                <a:lnTo>
                  <a:pt x="1593933" y="1265047"/>
                </a:lnTo>
                <a:lnTo>
                  <a:pt x="1594855" y="1277747"/>
                </a:lnTo>
                <a:lnTo>
                  <a:pt x="1594855" y="1785747"/>
                </a:lnTo>
                <a:lnTo>
                  <a:pt x="1663965" y="1785747"/>
                </a:lnTo>
                <a:lnTo>
                  <a:pt x="1666979" y="1760347"/>
                </a:lnTo>
                <a:lnTo>
                  <a:pt x="1669023" y="1709547"/>
                </a:lnTo>
                <a:lnTo>
                  <a:pt x="1669023" y="1277747"/>
                </a:lnTo>
                <a:lnTo>
                  <a:pt x="1666618" y="1239647"/>
                </a:lnTo>
                <a:lnTo>
                  <a:pt x="1654473" y="1201547"/>
                </a:lnTo>
                <a:lnTo>
                  <a:pt x="1641138" y="1176147"/>
                </a:lnTo>
                <a:lnTo>
                  <a:pt x="1633016" y="1163447"/>
                </a:lnTo>
                <a:close/>
              </a:path>
              <a:path w="1669415" h="2319654">
                <a:moveTo>
                  <a:pt x="333775" y="1099947"/>
                </a:moveTo>
                <a:lnTo>
                  <a:pt x="187607" y="1099947"/>
                </a:lnTo>
                <a:lnTo>
                  <a:pt x="208323" y="1112647"/>
                </a:lnTo>
                <a:lnTo>
                  <a:pt x="229931" y="1125347"/>
                </a:lnTo>
                <a:lnTo>
                  <a:pt x="252307" y="1138047"/>
                </a:lnTo>
                <a:lnTo>
                  <a:pt x="275325" y="1150747"/>
                </a:lnTo>
                <a:lnTo>
                  <a:pt x="298862" y="1163447"/>
                </a:lnTo>
                <a:lnTo>
                  <a:pt x="322792" y="1188847"/>
                </a:lnTo>
                <a:lnTo>
                  <a:pt x="346991" y="1201547"/>
                </a:lnTo>
                <a:lnTo>
                  <a:pt x="419956" y="1277747"/>
                </a:lnTo>
                <a:lnTo>
                  <a:pt x="443985" y="1290447"/>
                </a:lnTo>
                <a:lnTo>
                  <a:pt x="467660" y="1315847"/>
                </a:lnTo>
                <a:lnTo>
                  <a:pt x="490857" y="1341247"/>
                </a:lnTo>
                <a:lnTo>
                  <a:pt x="513450" y="1366647"/>
                </a:lnTo>
                <a:lnTo>
                  <a:pt x="513475" y="1188847"/>
                </a:lnTo>
                <a:lnTo>
                  <a:pt x="441822" y="1188847"/>
                </a:lnTo>
                <a:lnTo>
                  <a:pt x="420590" y="1176147"/>
                </a:lnTo>
                <a:lnTo>
                  <a:pt x="399108" y="1150747"/>
                </a:lnTo>
                <a:lnTo>
                  <a:pt x="377437" y="1138047"/>
                </a:lnTo>
                <a:lnTo>
                  <a:pt x="355636" y="1112647"/>
                </a:lnTo>
                <a:lnTo>
                  <a:pt x="333775" y="1099947"/>
                </a:lnTo>
                <a:close/>
              </a:path>
              <a:path w="1669415" h="2319654">
                <a:moveTo>
                  <a:pt x="767810" y="439547"/>
                </a:moveTo>
                <a:lnTo>
                  <a:pt x="653260" y="439547"/>
                </a:lnTo>
                <a:lnTo>
                  <a:pt x="666406" y="452247"/>
                </a:lnTo>
                <a:lnTo>
                  <a:pt x="678664" y="452247"/>
                </a:lnTo>
                <a:lnTo>
                  <a:pt x="689917" y="464947"/>
                </a:lnTo>
                <a:lnTo>
                  <a:pt x="700049" y="477647"/>
                </a:lnTo>
                <a:lnTo>
                  <a:pt x="708943" y="490347"/>
                </a:lnTo>
                <a:lnTo>
                  <a:pt x="716481" y="490347"/>
                </a:lnTo>
                <a:lnTo>
                  <a:pt x="722547" y="503047"/>
                </a:lnTo>
                <a:lnTo>
                  <a:pt x="727025" y="515747"/>
                </a:lnTo>
                <a:lnTo>
                  <a:pt x="729797" y="541147"/>
                </a:lnTo>
                <a:lnTo>
                  <a:pt x="730747" y="553847"/>
                </a:lnTo>
                <a:lnTo>
                  <a:pt x="730747" y="1315847"/>
                </a:lnTo>
                <a:lnTo>
                  <a:pt x="802248" y="1315847"/>
                </a:lnTo>
                <a:lnTo>
                  <a:pt x="802256" y="1049147"/>
                </a:lnTo>
                <a:lnTo>
                  <a:pt x="811160" y="1011047"/>
                </a:lnTo>
                <a:lnTo>
                  <a:pt x="825368" y="985647"/>
                </a:lnTo>
                <a:lnTo>
                  <a:pt x="834579" y="985647"/>
                </a:lnTo>
                <a:lnTo>
                  <a:pt x="845030" y="972947"/>
                </a:lnTo>
                <a:lnTo>
                  <a:pt x="856596" y="960247"/>
                </a:lnTo>
                <a:lnTo>
                  <a:pt x="869151" y="960247"/>
                </a:lnTo>
                <a:lnTo>
                  <a:pt x="882572" y="947547"/>
                </a:lnTo>
                <a:lnTo>
                  <a:pt x="1054833" y="947547"/>
                </a:lnTo>
                <a:lnTo>
                  <a:pt x="1046936" y="934847"/>
                </a:lnTo>
                <a:lnTo>
                  <a:pt x="1038254" y="934847"/>
                </a:lnTo>
                <a:lnTo>
                  <a:pt x="1028808" y="922147"/>
                </a:lnTo>
                <a:lnTo>
                  <a:pt x="1018620" y="909447"/>
                </a:lnTo>
                <a:lnTo>
                  <a:pt x="802248" y="909447"/>
                </a:lnTo>
                <a:lnTo>
                  <a:pt x="802248" y="553847"/>
                </a:lnTo>
                <a:lnTo>
                  <a:pt x="799927" y="515747"/>
                </a:lnTo>
                <a:lnTo>
                  <a:pt x="788268" y="477647"/>
                </a:lnTo>
                <a:lnTo>
                  <a:pt x="775537" y="452247"/>
                </a:lnTo>
                <a:lnTo>
                  <a:pt x="767810" y="439547"/>
                </a:lnTo>
                <a:close/>
              </a:path>
              <a:path w="1669415" h="2319654">
                <a:moveTo>
                  <a:pt x="1344804" y="1023747"/>
                </a:moveTo>
                <a:lnTo>
                  <a:pt x="1231021" y="1023747"/>
                </a:lnTo>
                <a:lnTo>
                  <a:pt x="1244168" y="1036447"/>
                </a:lnTo>
                <a:lnTo>
                  <a:pt x="1256425" y="1036447"/>
                </a:lnTo>
                <a:lnTo>
                  <a:pt x="1267674" y="1049147"/>
                </a:lnTo>
                <a:lnTo>
                  <a:pt x="1277801" y="1049147"/>
                </a:lnTo>
                <a:lnTo>
                  <a:pt x="1286688" y="1061847"/>
                </a:lnTo>
                <a:lnTo>
                  <a:pt x="1304753" y="1099947"/>
                </a:lnTo>
                <a:lnTo>
                  <a:pt x="1308470" y="1125347"/>
                </a:lnTo>
                <a:lnTo>
                  <a:pt x="1308470" y="1315847"/>
                </a:lnTo>
                <a:lnTo>
                  <a:pt x="1380098" y="1315847"/>
                </a:lnTo>
                <a:lnTo>
                  <a:pt x="1380155" y="1277747"/>
                </a:lnTo>
                <a:lnTo>
                  <a:pt x="1384757" y="1239647"/>
                </a:lnTo>
                <a:lnTo>
                  <a:pt x="1403942" y="1201547"/>
                </a:lnTo>
                <a:lnTo>
                  <a:pt x="1413139" y="1201547"/>
                </a:lnTo>
                <a:lnTo>
                  <a:pt x="1423540" y="1188847"/>
                </a:lnTo>
                <a:lnTo>
                  <a:pt x="1435026" y="1176147"/>
                </a:lnTo>
                <a:lnTo>
                  <a:pt x="1447479" y="1176147"/>
                </a:lnTo>
                <a:lnTo>
                  <a:pt x="1460781" y="1163447"/>
                </a:lnTo>
                <a:lnTo>
                  <a:pt x="1623976" y="1163447"/>
                </a:lnTo>
                <a:lnTo>
                  <a:pt x="1614056" y="1150747"/>
                </a:lnTo>
                <a:lnTo>
                  <a:pt x="1603295" y="1138047"/>
                </a:lnTo>
                <a:lnTo>
                  <a:pt x="1591733" y="1125347"/>
                </a:lnTo>
                <a:lnTo>
                  <a:pt x="1380098" y="1125347"/>
                </a:lnTo>
                <a:lnTo>
                  <a:pt x="1379493" y="1112647"/>
                </a:lnTo>
                <a:lnTo>
                  <a:pt x="1370779" y="1074547"/>
                </a:lnTo>
                <a:lnTo>
                  <a:pt x="1352697" y="1036447"/>
                </a:lnTo>
                <a:lnTo>
                  <a:pt x="1344804" y="1023747"/>
                </a:lnTo>
                <a:close/>
              </a:path>
              <a:path w="1669415" h="2319654">
                <a:moveTo>
                  <a:pt x="1054833" y="947547"/>
                </a:moveTo>
                <a:lnTo>
                  <a:pt x="940515" y="947547"/>
                </a:lnTo>
                <a:lnTo>
                  <a:pt x="953907" y="960247"/>
                </a:lnTo>
                <a:lnTo>
                  <a:pt x="966400" y="960247"/>
                </a:lnTo>
                <a:lnTo>
                  <a:pt x="977874" y="972947"/>
                </a:lnTo>
                <a:lnTo>
                  <a:pt x="988208" y="985647"/>
                </a:lnTo>
                <a:lnTo>
                  <a:pt x="997282" y="985647"/>
                </a:lnTo>
                <a:lnTo>
                  <a:pt x="1004976" y="998347"/>
                </a:lnTo>
                <a:lnTo>
                  <a:pt x="1011170" y="1011047"/>
                </a:lnTo>
                <a:lnTo>
                  <a:pt x="1015743" y="1023747"/>
                </a:lnTo>
                <a:lnTo>
                  <a:pt x="1018575" y="1036447"/>
                </a:lnTo>
                <a:lnTo>
                  <a:pt x="1019545" y="1061847"/>
                </a:lnTo>
                <a:lnTo>
                  <a:pt x="1019545" y="1239647"/>
                </a:lnTo>
                <a:lnTo>
                  <a:pt x="1091173" y="1239647"/>
                </a:lnTo>
                <a:lnTo>
                  <a:pt x="1091288" y="1125347"/>
                </a:lnTo>
                <a:lnTo>
                  <a:pt x="1101212" y="1087247"/>
                </a:lnTo>
                <a:lnTo>
                  <a:pt x="1125041" y="1049147"/>
                </a:lnTo>
                <a:lnTo>
                  <a:pt x="1135561" y="1036447"/>
                </a:lnTo>
                <a:lnTo>
                  <a:pt x="1147184" y="1036447"/>
                </a:lnTo>
                <a:lnTo>
                  <a:pt x="1159802" y="1023747"/>
                </a:lnTo>
                <a:lnTo>
                  <a:pt x="1344804" y="1023747"/>
                </a:lnTo>
                <a:lnTo>
                  <a:pt x="1336056" y="1011047"/>
                </a:lnTo>
                <a:lnTo>
                  <a:pt x="1326499" y="998347"/>
                </a:lnTo>
                <a:lnTo>
                  <a:pt x="1078127" y="998347"/>
                </a:lnTo>
                <a:lnTo>
                  <a:pt x="1073591" y="985647"/>
                </a:lnTo>
                <a:lnTo>
                  <a:pt x="1068182" y="972947"/>
                </a:lnTo>
                <a:lnTo>
                  <a:pt x="1061922" y="960247"/>
                </a:lnTo>
                <a:lnTo>
                  <a:pt x="1054833" y="947547"/>
                </a:lnTo>
                <a:close/>
              </a:path>
              <a:path w="1669415" h="2319654">
                <a:moveTo>
                  <a:pt x="759232" y="426847"/>
                </a:moveTo>
                <a:lnTo>
                  <a:pt x="484607" y="426847"/>
                </a:lnTo>
                <a:lnTo>
                  <a:pt x="476098" y="439547"/>
                </a:lnTo>
                <a:lnTo>
                  <a:pt x="455763" y="477647"/>
                </a:lnTo>
                <a:lnTo>
                  <a:pt x="444141" y="515747"/>
                </a:lnTo>
                <a:lnTo>
                  <a:pt x="441822" y="553847"/>
                </a:lnTo>
                <a:lnTo>
                  <a:pt x="441822" y="1188847"/>
                </a:lnTo>
                <a:lnTo>
                  <a:pt x="513475" y="1188847"/>
                </a:lnTo>
                <a:lnTo>
                  <a:pt x="513564" y="541147"/>
                </a:lnTo>
                <a:lnTo>
                  <a:pt x="515138" y="528447"/>
                </a:lnTo>
                <a:lnTo>
                  <a:pt x="529997" y="490347"/>
                </a:lnTo>
                <a:lnTo>
                  <a:pt x="547260" y="464947"/>
                </a:lnTo>
                <a:lnTo>
                  <a:pt x="557773" y="464947"/>
                </a:lnTo>
                <a:lnTo>
                  <a:pt x="569393" y="452247"/>
                </a:lnTo>
                <a:lnTo>
                  <a:pt x="582012" y="452247"/>
                </a:lnTo>
                <a:lnTo>
                  <a:pt x="595521" y="439547"/>
                </a:lnTo>
                <a:lnTo>
                  <a:pt x="767810" y="439547"/>
                </a:lnTo>
                <a:lnTo>
                  <a:pt x="759232" y="426847"/>
                </a:lnTo>
                <a:close/>
              </a:path>
              <a:path w="1669415" h="2319654">
                <a:moveTo>
                  <a:pt x="1566358" y="1112647"/>
                </a:moveTo>
                <a:lnTo>
                  <a:pt x="1401491" y="1112647"/>
                </a:lnTo>
                <a:lnTo>
                  <a:pt x="1390599" y="1125347"/>
                </a:lnTo>
                <a:lnTo>
                  <a:pt x="1579408" y="1125347"/>
                </a:lnTo>
                <a:lnTo>
                  <a:pt x="1566358" y="1112647"/>
                </a:lnTo>
                <a:close/>
              </a:path>
              <a:path w="1669415" h="2319654">
                <a:moveTo>
                  <a:pt x="1538242" y="1099947"/>
                </a:moveTo>
                <a:lnTo>
                  <a:pt x="1436513" y="1099947"/>
                </a:lnTo>
                <a:lnTo>
                  <a:pt x="1424450" y="1112647"/>
                </a:lnTo>
                <a:lnTo>
                  <a:pt x="1552623" y="1112647"/>
                </a:lnTo>
                <a:lnTo>
                  <a:pt x="1538242" y="1099947"/>
                </a:lnTo>
                <a:close/>
              </a:path>
              <a:path w="1669415" h="2319654">
                <a:moveTo>
                  <a:pt x="183715" y="1023747"/>
                </a:moveTo>
                <a:lnTo>
                  <a:pt x="105612" y="1023747"/>
                </a:lnTo>
                <a:lnTo>
                  <a:pt x="87550" y="1036447"/>
                </a:lnTo>
                <a:lnTo>
                  <a:pt x="204407" y="1036447"/>
                </a:lnTo>
                <a:lnTo>
                  <a:pt x="183715" y="1023747"/>
                </a:lnTo>
                <a:close/>
              </a:path>
              <a:path w="1669415" h="2319654">
                <a:moveTo>
                  <a:pt x="1293440" y="972947"/>
                </a:moveTo>
                <a:lnTo>
                  <a:pt x="1098786" y="972947"/>
                </a:lnTo>
                <a:lnTo>
                  <a:pt x="1088247" y="985647"/>
                </a:lnTo>
                <a:lnTo>
                  <a:pt x="1078127" y="998347"/>
                </a:lnTo>
                <a:lnTo>
                  <a:pt x="1326499" y="998347"/>
                </a:lnTo>
                <a:lnTo>
                  <a:pt x="1316180" y="985647"/>
                </a:lnTo>
                <a:lnTo>
                  <a:pt x="1305145" y="985647"/>
                </a:lnTo>
                <a:lnTo>
                  <a:pt x="1293440" y="972947"/>
                </a:lnTo>
                <a:close/>
              </a:path>
              <a:path w="1669415" h="2319654">
                <a:moveTo>
                  <a:pt x="1268209" y="960247"/>
                </a:moveTo>
                <a:lnTo>
                  <a:pt x="1121070" y="960247"/>
                </a:lnTo>
                <a:lnTo>
                  <a:pt x="1109731" y="972947"/>
                </a:lnTo>
                <a:lnTo>
                  <a:pt x="1281113" y="972947"/>
                </a:lnTo>
                <a:lnTo>
                  <a:pt x="1268209" y="960247"/>
                </a:lnTo>
                <a:close/>
              </a:path>
              <a:path w="1669415" h="2319654">
                <a:moveTo>
                  <a:pt x="1226502" y="947547"/>
                </a:moveTo>
                <a:lnTo>
                  <a:pt x="1157323" y="947547"/>
                </a:lnTo>
                <a:lnTo>
                  <a:pt x="1144879" y="960247"/>
                </a:lnTo>
                <a:lnTo>
                  <a:pt x="1240857" y="960247"/>
                </a:lnTo>
                <a:lnTo>
                  <a:pt x="1226502" y="947547"/>
                </a:lnTo>
                <a:close/>
              </a:path>
              <a:path w="1669415" h="2319654">
                <a:moveTo>
                  <a:pt x="996106" y="896747"/>
                </a:moveTo>
                <a:lnTo>
                  <a:pt x="823678" y="896747"/>
                </a:lnTo>
                <a:lnTo>
                  <a:pt x="812772" y="909447"/>
                </a:lnTo>
                <a:lnTo>
                  <a:pt x="1007712" y="909447"/>
                </a:lnTo>
                <a:lnTo>
                  <a:pt x="996106" y="896747"/>
                </a:lnTo>
                <a:close/>
              </a:path>
              <a:path w="1669415" h="2319654">
                <a:moveTo>
                  <a:pt x="970887" y="884047"/>
                </a:moveTo>
                <a:lnTo>
                  <a:pt x="846638" y="884047"/>
                </a:lnTo>
                <a:lnTo>
                  <a:pt x="834967" y="896747"/>
                </a:lnTo>
                <a:lnTo>
                  <a:pt x="983824" y="896747"/>
                </a:lnTo>
                <a:lnTo>
                  <a:pt x="970887" y="884047"/>
                </a:lnTo>
                <a:close/>
              </a:path>
              <a:path w="1669415" h="2319654">
                <a:moveTo>
                  <a:pt x="897151" y="871347"/>
                </a:moveTo>
                <a:lnTo>
                  <a:pt x="883949" y="884047"/>
                </a:lnTo>
                <a:lnTo>
                  <a:pt x="913033" y="884047"/>
                </a:lnTo>
                <a:lnTo>
                  <a:pt x="897151" y="871347"/>
                </a:lnTo>
                <a:close/>
              </a:path>
              <a:path w="1669415" h="2319654">
                <a:moveTo>
                  <a:pt x="331840" y="617347"/>
                </a:moveTo>
                <a:lnTo>
                  <a:pt x="50662" y="680847"/>
                </a:lnTo>
                <a:lnTo>
                  <a:pt x="68569" y="757047"/>
                </a:lnTo>
                <a:lnTo>
                  <a:pt x="349747" y="680847"/>
                </a:lnTo>
                <a:lnTo>
                  <a:pt x="331840" y="617347"/>
                </a:lnTo>
                <a:close/>
              </a:path>
              <a:path w="1669415" h="2319654">
                <a:moveTo>
                  <a:pt x="912230" y="617347"/>
                </a:moveTo>
                <a:lnTo>
                  <a:pt x="894323" y="680847"/>
                </a:lnTo>
                <a:lnTo>
                  <a:pt x="1175501" y="757047"/>
                </a:lnTo>
                <a:lnTo>
                  <a:pt x="1193408" y="680847"/>
                </a:lnTo>
                <a:lnTo>
                  <a:pt x="912230" y="617347"/>
                </a:lnTo>
                <a:close/>
              </a:path>
              <a:path w="1669415" h="2319654">
                <a:moveTo>
                  <a:pt x="196331" y="198247"/>
                </a:moveTo>
                <a:lnTo>
                  <a:pt x="150357" y="249047"/>
                </a:lnTo>
                <a:lnTo>
                  <a:pt x="375274" y="426847"/>
                </a:lnTo>
                <a:lnTo>
                  <a:pt x="421375" y="376047"/>
                </a:lnTo>
                <a:lnTo>
                  <a:pt x="196331" y="198247"/>
                </a:lnTo>
                <a:close/>
              </a:path>
              <a:path w="1669415" h="2319654">
                <a:moveTo>
                  <a:pt x="728813" y="401447"/>
                </a:moveTo>
                <a:lnTo>
                  <a:pt x="514709" y="401447"/>
                </a:lnTo>
                <a:lnTo>
                  <a:pt x="503957" y="414147"/>
                </a:lnTo>
                <a:lnTo>
                  <a:pt x="493908" y="426847"/>
                </a:lnTo>
                <a:lnTo>
                  <a:pt x="749845" y="426847"/>
                </a:lnTo>
                <a:lnTo>
                  <a:pt x="739691" y="414147"/>
                </a:lnTo>
                <a:lnTo>
                  <a:pt x="728813" y="401447"/>
                </a:lnTo>
                <a:close/>
              </a:path>
              <a:path w="1669415" h="2319654">
                <a:moveTo>
                  <a:pt x="1047739" y="198247"/>
                </a:moveTo>
                <a:lnTo>
                  <a:pt x="822695" y="376047"/>
                </a:lnTo>
                <a:lnTo>
                  <a:pt x="868796" y="426847"/>
                </a:lnTo>
                <a:lnTo>
                  <a:pt x="1093713" y="249047"/>
                </a:lnTo>
                <a:lnTo>
                  <a:pt x="1047739" y="198247"/>
                </a:lnTo>
                <a:close/>
              </a:path>
              <a:path w="1669415" h="2319654">
                <a:moveTo>
                  <a:pt x="705051" y="388747"/>
                </a:moveTo>
                <a:lnTo>
                  <a:pt x="538148" y="388747"/>
                </a:lnTo>
                <a:lnTo>
                  <a:pt x="526121" y="401447"/>
                </a:lnTo>
                <a:lnTo>
                  <a:pt x="717252" y="401447"/>
                </a:lnTo>
                <a:lnTo>
                  <a:pt x="705051" y="388747"/>
                </a:lnTo>
                <a:close/>
              </a:path>
              <a:path w="1669415" h="2319654">
                <a:moveTo>
                  <a:pt x="678898" y="376047"/>
                </a:moveTo>
                <a:lnTo>
                  <a:pt x="563872" y="376047"/>
                </a:lnTo>
                <a:lnTo>
                  <a:pt x="550747" y="388747"/>
                </a:lnTo>
                <a:lnTo>
                  <a:pt x="692252" y="388747"/>
                </a:lnTo>
                <a:lnTo>
                  <a:pt x="678898" y="376047"/>
                </a:lnTo>
                <a:close/>
              </a:path>
              <a:path w="1669415" h="2319654">
                <a:moveTo>
                  <a:pt x="635921" y="363347"/>
                </a:moveTo>
                <a:lnTo>
                  <a:pt x="605972" y="363347"/>
                </a:lnTo>
                <a:lnTo>
                  <a:pt x="591529" y="376047"/>
                </a:lnTo>
                <a:lnTo>
                  <a:pt x="650690" y="376047"/>
                </a:lnTo>
                <a:lnTo>
                  <a:pt x="635921" y="363347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新細明體" pitchFamily="18" charset="-120"/>
              <a:cs typeface="+mn-cs"/>
            </a:endParaRPr>
          </a:p>
        </p:txBody>
      </p:sp>
      <p:sp>
        <p:nvSpPr>
          <p:cNvPr id="8" name="Freeform 483"/>
          <p:cNvSpPr>
            <a:spLocks noChangeAspect="1"/>
          </p:cNvSpPr>
          <p:nvPr/>
        </p:nvSpPr>
        <p:spPr>
          <a:xfrm>
            <a:off x="4079776" y="2708920"/>
            <a:ext cx="1620000" cy="1156807"/>
          </a:xfrm>
          <a:custGeom>
            <a:avLst/>
            <a:gdLst/>
            <a:ahLst/>
            <a:cxnLst/>
            <a:rect l="l" t="t" r="r" b="b"/>
            <a:pathLst>
              <a:path w="504824" h="360589">
                <a:moveTo>
                  <a:pt x="252412" y="0"/>
                </a:moveTo>
                <a:cubicBezTo>
                  <a:pt x="336737" y="0"/>
                  <a:pt x="399746" y="2348"/>
                  <a:pt x="441440" y="7043"/>
                </a:cubicBezTo>
                <a:cubicBezTo>
                  <a:pt x="454774" y="8545"/>
                  <a:pt x="466465" y="13992"/>
                  <a:pt x="476512" y="23382"/>
                </a:cubicBezTo>
                <a:cubicBezTo>
                  <a:pt x="486561" y="32772"/>
                  <a:pt x="493086" y="44322"/>
                  <a:pt x="496091" y="58032"/>
                </a:cubicBezTo>
                <a:cubicBezTo>
                  <a:pt x="498720" y="70240"/>
                  <a:pt x="500739" y="84090"/>
                  <a:pt x="502147" y="99585"/>
                </a:cubicBezTo>
                <a:cubicBezTo>
                  <a:pt x="503556" y="115078"/>
                  <a:pt x="504354" y="127896"/>
                  <a:pt x="504542" y="138038"/>
                </a:cubicBezTo>
                <a:cubicBezTo>
                  <a:pt x="504730" y="148180"/>
                  <a:pt x="504824" y="162265"/>
                  <a:pt x="504824" y="180294"/>
                </a:cubicBezTo>
                <a:cubicBezTo>
                  <a:pt x="504824" y="198324"/>
                  <a:pt x="504730" y="212409"/>
                  <a:pt x="504542" y="222551"/>
                </a:cubicBezTo>
                <a:cubicBezTo>
                  <a:pt x="504354" y="232693"/>
                  <a:pt x="503556" y="245511"/>
                  <a:pt x="502147" y="261004"/>
                </a:cubicBezTo>
                <a:cubicBezTo>
                  <a:pt x="500739" y="276499"/>
                  <a:pt x="498626" y="290349"/>
                  <a:pt x="495809" y="302557"/>
                </a:cubicBezTo>
                <a:cubicBezTo>
                  <a:pt x="492805" y="316267"/>
                  <a:pt x="486325" y="327817"/>
                  <a:pt x="476371" y="337207"/>
                </a:cubicBezTo>
                <a:cubicBezTo>
                  <a:pt x="466418" y="346597"/>
                  <a:pt x="454774" y="352044"/>
                  <a:pt x="441440" y="353546"/>
                </a:cubicBezTo>
                <a:cubicBezTo>
                  <a:pt x="399746" y="358241"/>
                  <a:pt x="336737" y="360589"/>
                  <a:pt x="252412" y="360589"/>
                </a:cubicBezTo>
                <a:cubicBezTo>
                  <a:pt x="168087" y="360589"/>
                  <a:pt x="105078" y="358241"/>
                  <a:pt x="63384" y="353546"/>
                </a:cubicBezTo>
                <a:cubicBezTo>
                  <a:pt x="50050" y="352044"/>
                  <a:pt x="38359" y="346597"/>
                  <a:pt x="28311" y="337207"/>
                </a:cubicBezTo>
                <a:cubicBezTo>
                  <a:pt x="18264" y="327817"/>
                  <a:pt x="11737" y="316267"/>
                  <a:pt x="8733" y="302557"/>
                </a:cubicBezTo>
                <a:cubicBezTo>
                  <a:pt x="6103" y="290349"/>
                  <a:pt x="4084" y="276499"/>
                  <a:pt x="2676" y="261004"/>
                </a:cubicBezTo>
                <a:cubicBezTo>
                  <a:pt x="1267" y="245511"/>
                  <a:pt x="469" y="232693"/>
                  <a:pt x="281" y="222551"/>
                </a:cubicBezTo>
                <a:cubicBezTo>
                  <a:pt x="93" y="212409"/>
                  <a:pt x="0" y="198324"/>
                  <a:pt x="0" y="180294"/>
                </a:cubicBezTo>
                <a:cubicBezTo>
                  <a:pt x="0" y="162265"/>
                  <a:pt x="93" y="148180"/>
                  <a:pt x="281" y="138038"/>
                </a:cubicBezTo>
                <a:cubicBezTo>
                  <a:pt x="469" y="127896"/>
                  <a:pt x="1267" y="115078"/>
                  <a:pt x="2676" y="99585"/>
                </a:cubicBezTo>
                <a:cubicBezTo>
                  <a:pt x="4084" y="84090"/>
                  <a:pt x="6197" y="70240"/>
                  <a:pt x="9014" y="58032"/>
                </a:cubicBezTo>
                <a:cubicBezTo>
                  <a:pt x="12019" y="44322"/>
                  <a:pt x="18498" y="32772"/>
                  <a:pt x="28453" y="23382"/>
                </a:cubicBezTo>
                <a:cubicBezTo>
                  <a:pt x="38406" y="13992"/>
                  <a:pt x="50050" y="8545"/>
                  <a:pt x="63384" y="7043"/>
                </a:cubicBezTo>
                <a:cubicBezTo>
                  <a:pt x="105078" y="2348"/>
                  <a:pt x="168087" y="0"/>
                  <a:pt x="252412" y="0"/>
                </a:cubicBezTo>
                <a:close/>
                <a:moveTo>
                  <a:pt x="198958" y="71977"/>
                </a:moveTo>
                <a:cubicBezTo>
                  <a:pt x="195906" y="71883"/>
                  <a:pt x="192783" y="72681"/>
                  <a:pt x="189591" y="74371"/>
                </a:cubicBezTo>
                <a:cubicBezTo>
                  <a:pt x="183393" y="77752"/>
                  <a:pt x="180294" y="83011"/>
                  <a:pt x="180294" y="90147"/>
                </a:cubicBezTo>
                <a:lnTo>
                  <a:pt x="180294" y="270442"/>
                </a:lnTo>
                <a:cubicBezTo>
                  <a:pt x="180294" y="277578"/>
                  <a:pt x="183393" y="282837"/>
                  <a:pt x="189591" y="286218"/>
                </a:cubicBezTo>
                <a:cubicBezTo>
                  <a:pt x="192595" y="287720"/>
                  <a:pt x="195507" y="288471"/>
                  <a:pt x="198324" y="288471"/>
                </a:cubicBezTo>
                <a:cubicBezTo>
                  <a:pt x="202080" y="288471"/>
                  <a:pt x="205273" y="287532"/>
                  <a:pt x="207902" y="285654"/>
                </a:cubicBezTo>
                <a:lnTo>
                  <a:pt x="352137" y="195507"/>
                </a:lnTo>
                <a:cubicBezTo>
                  <a:pt x="357771" y="192314"/>
                  <a:pt x="360588" y="187243"/>
                  <a:pt x="360588" y="180294"/>
                </a:cubicBezTo>
                <a:cubicBezTo>
                  <a:pt x="360588" y="173345"/>
                  <a:pt x="357771" y="168275"/>
                  <a:pt x="352137" y="165082"/>
                </a:cubicBezTo>
                <a:lnTo>
                  <a:pt x="207902" y="74935"/>
                </a:lnTo>
                <a:cubicBezTo>
                  <a:pt x="204991" y="73057"/>
                  <a:pt x="202009" y="72071"/>
                  <a:pt x="198958" y="71977"/>
                </a:cubicBezTo>
                <a:close/>
              </a:path>
            </a:pathLst>
          </a:cu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25562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實驗工具</a:t>
            </a:r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1683251" y="1746242"/>
            <a:ext cx="769441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已提供</a:t>
            </a:r>
          </a:p>
        </p:txBody>
      </p:sp>
      <p:sp>
        <p:nvSpPr>
          <p:cNvPr id="6" name="Oval 77"/>
          <p:cNvSpPr>
            <a:spLocks noChangeArrowheads="1"/>
          </p:cNvSpPr>
          <p:nvPr/>
        </p:nvSpPr>
        <p:spPr bwMode="auto">
          <a:xfrm>
            <a:off x="1007630" y="175134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1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7" name="Freeform 359"/>
          <p:cNvSpPr>
            <a:spLocks noChangeAspect="1"/>
          </p:cNvSpPr>
          <p:nvPr/>
        </p:nvSpPr>
        <p:spPr>
          <a:xfrm>
            <a:off x="1487520" y="2336925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1956302" y="2329135"/>
            <a:ext cx="83997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 err="1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echo.m</a:t>
            </a:r>
            <a:endParaRPr kumimoji="0" lang="en-US" altLang="zh-TW" sz="20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9" name="Freeform 359"/>
          <p:cNvSpPr>
            <a:spLocks noChangeAspect="1"/>
          </p:cNvSpPr>
          <p:nvPr/>
        </p:nvSpPr>
        <p:spPr>
          <a:xfrm>
            <a:off x="1487520" y="2862596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1956302" y="2856436"/>
            <a:ext cx="1331386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 err="1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LMS.m</a:t>
            </a:r>
            <a:endParaRPr kumimoji="0" lang="en-US" altLang="zh-TW" sz="20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1" name="Freeform 359"/>
          <p:cNvSpPr>
            <a:spLocks noChangeAspect="1"/>
          </p:cNvSpPr>
          <p:nvPr/>
        </p:nvSpPr>
        <p:spPr>
          <a:xfrm>
            <a:off x="1487520" y="3388267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1956302" y="3383737"/>
            <a:ext cx="158570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音源</a:t>
            </a: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1683251" y="5641503"/>
            <a:ext cx="1381789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參考</a:t>
            </a: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word</a:t>
            </a:r>
            <a:r>
              <a:rPr kumimoji="0" lang="zh-TW" altLang="en-US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檔</a:t>
            </a:r>
          </a:p>
        </p:txBody>
      </p:sp>
      <p:sp>
        <p:nvSpPr>
          <p:cNvPr id="16" name="Oval 77"/>
          <p:cNvSpPr>
            <a:spLocks noChangeArrowheads="1"/>
          </p:cNvSpPr>
          <p:nvPr/>
        </p:nvSpPr>
        <p:spPr bwMode="auto">
          <a:xfrm>
            <a:off x="1007630" y="5646609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3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18" name="Text Placeholder 3"/>
          <p:cNvSpPr txBox="1">
            <a:spLocks/>
          </p:cNvSpPr>
          <p:nvPr/>
        </p:nvSpPr>
        <p:spPr>
          <a:xfrm>
            <a:off x="1683251" y="3961671"/>
            <a:ext cx="769441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可自備</a:t>
            </a:r>
          </a:p>
        </p:txBody>
      </p:sp>
      <p:sp>
        <p:nvSpPr>
          <p:cNvPr id="19" name="Oval 77"/>
          <p:cNvSpPr>
            <a:spLocks noChangeArrowheads="1"/>
          </p:cNvSpPr>
          <p:nvPr/>
        </p:nvSpPr>
        <p:spPr bwMode="auto">
          <a:xfrm>
            <a:off x="1007630" y="3966777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2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20" name="Freeform 359"/>
          <p:cNvSpPr>
            <a:spLocks noChangeAspect="1"/>
          </p:cNvSpPr>
          <p:nvPr/>
        </p:nvSpPr>
        <p:spPr>
          <a:xfrm>
            <a:off x="1487520" y="4538653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1956302" y="4530863"/>
            <a:ext cx="769441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音源檔</a:t>
            </a:r>
            <a:endParaRPr kumimoji="0" lang="en-US" altLang="zh-TW" sz="20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22" name="Freeform 359"/>
          <p:cNvSpPr>
            <a:spLocks noChangeAspect="1"/>
          </p:cNvSpPr>
          <p:nvPr/>
        </p:nvSpPr>
        <p:spPr>
          <a:xfrm>
            <a:off x="1487520" y="5064324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 Placeholder 3"/>
          <p:cNvSpPr txBox="1">
            <a:spLocks/>
          </p:cNvSpPr>
          <p:nvPr/>
        </p:nvSpPr>
        <p:spPr>
          <a:xfrm>
            <a:off x="1956301" y="5058164"/>
            <a:ext cx="158570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搜尋其他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filter</a:t>
            </a:r>
          </a:p>
        </p:txBody>
      </p:sp>
    </p:spTree>
    <p:extLst>
      <p:ext uri="{BB962C8B-B14F-4D97-AF65-F5344CB8AC3E}">
        <p14:creationId xmlns:p14="http://schemas.microsoft.com/office/powerpoint/2010/main" val="34049318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實驗步驟</a:t>
            </a:r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grpSp>
        <p:nvGrpSpPr>
          <p:cNvPr id="43" name="群組 42"/>
          <p:cNvGrpSpPr/>
          <p:nvPr/>
        </p:nvGrpSpPr>
        <p:grpSpPr>
          <a:xfrm>
            <a:off x="813678" y="1867496"/>
            <a:ext cx="10870322" cy="726174"/>
            <a:chOff x="813678" y="1628800"/>
            <a:chExt cx="10870322" cy="726174"/>
          </a:xfrm>
        </p:grpSpPr>
        <p:sp>
          <p:nvSpPr>
            <p:cNvPr id="6" name="矩形 3"/>
            <p:cNvSpPr/>
            <p:nvPr/>
          </p:nvSpPr>
          <p:spPr>
            <a:xfrm>
              <a:off x="1533770" y="1634974"/>
              <a:ext cx="10150230" cy="720000"/>
            </a:xfrm>
            <a:custGeom>
              <a:avLst/>
              <a:gdLst>
                <a:gd name="connsiteX0" fmla="*/ 0 w 6120782"/>
                <a:gd name="connsiteY0" fmla="*/ 0 h 720092"/>
                <a:gd name="connsiteX1" fmla="*/ 6120782 w 6120782"/>
                <a:gd name="connsiteY1" fmla="*/ 0 h 720092"/>
                <a:gd name="connsiteX2" fmla="*/ 6120782 w 6120782"/>
                <a:gd name="connsiteY2" fmla="*/ 720092 h 720092"/>
                <a:gd name="connsiteX3" fmla="*/ 186125 w 6120782"/>
                <a:gd name="connsiteY3" fmla="*/ 710153 h 720092"/>
                <a:gd name="connsiteX4" fmla="*/ 0 w 6120782"/>
                <a:gd name="connsiteY4" fmla="*/ 450058 h 720092"/>
                <a:gd name="connsiteX5" fmla="*/ 0 w 6120782"/>
                <a:gd name="connsiteY5" fmla="*/ 0 h 720092"/>
                <a:gd name="connsiteX0" fmla="*/ 0 w 6120782"/>
                <a:gd name="connsiteY0" fmla="*/ 0 h 730031"/>
                <a:gd name="connsiteX1" fmla="*/ 6120782 w 6120782"/>
                <a:gd name="connsiteY1" fmla="*/ 0 h 730031"/>
                <a:gd name="connsiteX2" fmla="*/ 6120782 w 6120782"/>
                <a:gd name="connsiteY2" fmla="*/ 720092 h 730031"/>
                <a:gd name="connsiteX3" fmla="*/ 150164 w 6120782"/>
                <a:gd name="connsiteY3" fmla="*/ 730031 h 730031"/>
                <a:gd name="connsiteX4" fmla="*/ 0 w 6120782"/>
                <a:gd name="connsiteY4" fmla="*/ 450058 h 730031"/>
                <a:gd name="connsiteX5" fmla="*/ 0 w 6120782"/>
                <a:gd name="connsiteY5" fmla="*/ 0 h 730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20782" h="730031">
                  <a:moveTo>
                    <a:pt x="0" y="0"/>
                  </a:moveTo>
                  <a:lnTo>
                    <a:pt x="6120782" y="0"/>
                  </a:lnTo>
                  <a:lnTo>
                    <a:pt x="6120782" y="720092"/>
                  </a:lnTo>
                  <a:lnTo>
                    <a:pt x="150164" y="730031"/>
                  </a:lnTo>
                  <a:lnTo>
                    <a:pt x="0" y="4500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solidFill>
                <a:srgbClr val="0E457D"/>
              </a:solidFill>
              <a:prstDash val="solid"/>
            </a:ln>
            <a:effectLst/>
          </p:spPr>
          <p:txBody>
            <a:bodyPr lIns="360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2000" kern="0" dirty="0">
                  <a:latin typeface="Calibri"/>
                  <a:ea typeface="+mn-ea"/>
                </a:rPr>
                <a:t>實驗三 </a:t>
              </a:r>
              <a:r>
                <a:rPr kumimoji="0" lang="en-US" altLang="zh-TW" sz="2000" kern="0" dirty="0">
                  <a:latin typeface="Calibri"/>
                  <a:ea typeface="+mn-ea"/>
                </a:rPr>
                <a:t>: </a:t>
              </a:r>
              <a:r>
                <a:rPr kumimoji="0" lang="zh-TW" altLang="en-US" sz="2000" kern="0" dirty="0">
                  <a:latin typeface="Calibri"/>
                  <a:ea typeface="+mn-ea"/>
                </a:rPr>
                <a:t>產生、播放</a:t>
              </a:r>
              <a:r>
                <a:rPr kumimoji="0" lang="en-US" altLang="zh-TW" sz="2000" kern="0" dirty="0">
                  <a:latin typeface="Calibri"/>
                  <a:ea typeface="+mn-ea"/>
                </a:rPr>
                <a:t>echo  (Demo)</a:t>
              </a:r>
            </a:p>
          </p:txBody>
        </p:sp>
        <p:grpSp>
          <p:nvGrpSpPr>
            <p:cNvPr id="7" name="群組 6"/>
            <p:cNvGrpSpPr/>
            <p:nvPr/>
          </p:nvGrpSpPr>
          <p:grpSpPr>
            <a:xfrm>
              <a:off x="813678" y="1628800"/>
              <a:ext cx="990126" cy="720092"/>
              <a:chOff x="1151563" y="749790"/>
              <a:chExt cx="990126" cy="726266"/>
            </a:xfrm>
          </p:grpSpPr>
          <p:sp>
            <p:nvSpPr>
              <p:cNvPr id="8" name="矩形 2"/>
              <p:cNvSpPr/>
              <p:nvPr/>
            </p:nvSpPr>
            <p:spPr>
              <a:xfrm>
                <a:off x="1151563" y="755964"/>
                <a:ext cx="990126" cy="720092"/>
              </a:xfrm>
              <a:custGeom>
                <a:avLst/>
                <a:gdLst/>
                <a:ahLst/>
                <a:cxnLst/>
                <a:rect l="l" t="t" r="r" b="b"/>
                <a:pathLst>
                  <a:path w="990126" h="720092">
                    <a:moveTo>
                      <a:pt x="0" y="0"/>
                    </a:moveTo>
                    <a:lnTo>
                      <a:pt x="720092" y="0"/>
                    </a:lnTo>
                    <a:lnTo>
                      <a:pt x="720092" y="450058"/>
                    </a:lnTo>
                    <a:lnTo>
                      <a:pt x="990126" y="720092"/>
                    </a:lnTo>
                    <a:lnTo>
                      <a:pt x="720092" y="720092"/>
                    </a:lnTo>
                    <a:lnTo>
                      <a:pt x="450057" y="720092"/>
                    </a:lnTo>
                    <a:lnTo>
                      <a:pt x="0" y="720092"/>
                    </a:lnTo>
                    <a:close/>
                  </a:path>
                </a:pathLst>
              </a:custGeom>
              <a:solidFill>
                <a:srgbClr val="0E457D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" name="文字方塊 8"/>
              <p:cNvSpPr txBox="1"/>
              <p:nvPr/>
            </p:nvSpPr>
            <p:spPr>
              <a:xfrm>
                <a:off x="1217511" y="749790"/>
                <a:ext cx="630080" cy="720092"/>
              </a:xfrm>
              <a:prstGeom prst="rect">
                <a:avLst/>
              </a:prstGeom>
              <a:solidFill>
                <a:srgbClr val="0E457D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</a:rPr>
                  <a:t>1</a:t>
                </a:r>
              </a:p>
            </p:txBody>
          </p:sp>
        </p:grpSp>
      </p:grpSp>
      <p:grpSp>
        <p:nvGrpSpPr>
          <p:cNvPr id="42" name="群組 41"/>
          <p:cNvGrpSpPr/>
          <p:nvPr/>
        </p:nvGrpSpPr>
        <p:grpSpPr>
          <a:xfrm>
            <a:off x="813678" y="2717117"/>
            <a:ext cx="10870322" cy="726266"/>
            <a:chOff x="813678" y="2453394"/>
            <a:chExt cx="10870322" cy="726266"/>
          </a:xfrm>
        </p:grpSpPr>
        <p:sp>
          <p:nvSpPr>
            <p:cNvPr id="11" name="矩形 3"/>
            <p:cNvSpPr/>
            <p:nvPr/>
          </p:nvSpPr>
          <p:spPr>
            <a:xfrm>
              <a:off x="1533770" y="2459568"/>
              <a:ext cx="10150230" cy="720092"/>
            </a:xfrm>
            <a:custGeom>
              <a:avLst/>
              <a:gdLst>
                <a:gd name="connsiteX0" fmla="*/ 0 w 6120782"/>
                <a:gd name="connsiteY0" fmla="*/ 0 h 720092"/>
                <a:gd name="connsiteX1" fmla="*/ 6120782 w 6120782"/>
                <a:gd name="connsiteY1" fmla="*/ 0 h 720092"/>
                <a:gd name="connsiteX2" fmla="*/ 6120782 w 6120782"/>
                <a:gd name="connsiteY2" fmla="*/ 720092 h 720092"/>
                <a:gd name="connsiteX3" fmla="*/ 168145 w 6120782"/>
                <a:gd name="connsiteY3" fmla="*/ 720092 h 720092"/>
                <a:gd name="connsiteX4" fmla="*/ 0 w 6120782"/>
                <a:gd name="connsiteY4" fmla="*/ 450058 h 720092"/>
                <a:gd name="connsiteX5" fmla="*/ 0 w 6120782"/>
                <a:gd name="connsiteY5" fmla="*/ 0 h 720092"/>
                <a:gd name="connsiteX0" fmla="*/ 0 w 6120782"/>
                <a:gd name="connsiteY0" fmla="*/ 0 h 720092"/>
                <a:gd name="connsiteX1" fmla="*/ 6120782 w 6120782"/>
                <a:gd name="connsiteY1" fmla="*/ 0 h 720092"/>
                <a:gd name="connsiteX2" fmla="*/ 6120782 w 6120782"/>
                <a:gd name="connsiteY2" fmla="*/ 720092 h 720092"/>
                <a:gd name="connsiteX3" fmla="*/ 156658 w 6120782"/>
                <a:gd name="connsiteY3" fmla="*/ 720092 h 720092"/>
                <a:gd name="connsiteX4" fmla="*/ 0 w 6120782"/>
                <a:gd name="connsiteY4" fmla="*/ 450058 h 720092"/>
                <a:gd name="connsiteX5" fmla="*/ 0 w 6120782"/>
                <a:gd name="connsiteY5" fmla="*/ 0 h 720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20782" h="720092">
                  <a:moveTo>
                    <a:pt x="0" y="0"/>
                  </a:moveTo>
                  <a:lnTo>
                    <a:pt x="6120782" y="0"/>
                  </a:lnTo>
                  <a:lnTo>
                    <a:pt x="6120782" y="720092"/>
                  </a:lnTo>
                  <a:lnTo>
                    <a:pt x="156658" y="720092"/>
                  </a:lnTo>
                  <a:lnTo>
                    <a:pt x="0" y="45005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5400" cap="flat" cmpd="sng" algn="ctr">
              <a:solidFill>
                <a:srgbClr val="94B6D2"/>
              </a:solidFill>
              <a:prstDash val="solid"/>
            </a:ln>
            <a:effectLst/>
          </p:spPr>
          <p:txBody>
            <a:bodyPr lIns="360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2000" kern="0" dirty="0">
                  <a:latin typeface="Calibri"/>
                  <a:ea typeface="+mn-ea"/>
                </a:rPr>
                <a:t>實驗四 </a:t>
              </a:r>
              <a:r>
                <a:rPr kumimoji="0" lang="en-US" altLang="zh-TW" sz="2000" kern="0" dirty="0">
                  <a:latin typeface="Calibri"/>
                  <a:ea typeface="+mn-ea"/>
                </a:rPr>
                <a:t>: </a:t>
              </a:r>
              <a:r>
                <a:rPr kumimoji="0" lang="zh-TW" altLang="en-US" sz="2000" kern="0" dirty="0">
                  <a:latin typeface="Calibri"/>
                  <a:ea typeface="+mn-ea"/>
                </a:rPr>
                <a:t>使用</a:t>
              </a:r>
              <a:r>
                <a:rPr kumimoji="0" lang="en-US" altLang="zh-TW" sz="2000" kern="0" dirty="0">
                  <a:latin typeface="Calibri"/>
                  <a:ea typeface="+mn-ea"/>
                </a:rPr>
                <a:t>LMS.m</a:t>
              </a:r>
              <a:r>
                <a:rPr kumimoji="0" lang="zh-TW" altLang="en-US" sz="2000" kern="0" dirty="0">
                  <a:latin typeface="Calibri"/>
                  <a:ea typeface="+mn-ea"/>
                </a:rPr>
                <a:t>進行回音消除  </a:t>
              </a:r>
              <a:r>
                <a:rPr kumimoji="0" lang="en-US" altLang="zh-TW" sz="2000" kern="0" dirty="0">
                  <a:latin typeface="Calibri"/>
                  <a:ea typeface="+mn-ea"/>
                </a:rPr>
                <a:t>(Demo)</a:t>
              </a:r>
              <a:r>
                <a:rPr kumimoji="0" lang="zh-TW" altLang="en-US" sz="2000" kern="0" dirty="0">
                  <a:latin typeface="Calibri"/>
                  <a:ea typeface="+mn-ea"/>
                </a:rPr>
                <a:t>並觀察</a:t>
              </a:r>
              <a:r>
                <a:rPr kumimoji="0" lang="en-US" altLang="zh-TW" sz="2000" kern="0" dirty="0">
                  <a:latin typeface="Calibri"/>
                  <a:ea typeface="+mn-ea"/>
                </a:rPr>
                <a:t>MSE</a:t>
              </a:r>
            </a:p>
          </p:txBody>
        </p:sp>
        <p:grpSp>
          <p:nvGrpSpPr>
            <p:cNvPr id="12" name="群組 11"/>
            <p:cNvGrpSpPr/>
            <p:nvPr/>
          </p:nvGrpSpPr>
          <p:grpSpPr>
            <a:xfrm>
              <a:off x="813678" y="2453394"/>
              <a:ext cx="990126" cy="720000"/>
              <a:chOff x="1151563" y="1676221"/>
              <a:chExt cx="990126" cy="726266"/>
            </a:xfrm>
          </p:grpSpPr>
          <p:sp>
            <p:nvSpPr>
              <p:cNvPr id="13" name="矩形 2"/>
              <p:cNvSpPr/>
              <p:nvPr/>
            </p:nvSpPr>
            <p:spPr>
              <a:xfrm>
                <a:off x="1151563" y="1682395"/>
                <a:ext cx="990126" cy="720092"/>
              </a:xfrm>
              <a:custGeom>
                <a:avLst/>
                <a:gdLst/>
                <a:ahLst/>
                <a:cxnLst/>
                <a:rect l="l" t="t" r="r" b="b"/>
                <a:pathLst>
                  <a:path w="990126" h="720092">
                    <a:moveTo>
                      <a:pt x="0" y="0"/>
                    </a:moveTo>
                    <a:lnTo>
                      <a:pt x="720092" y="0"/>
                    </a:lnTo>
                    <a:lnTo>
                      <a:pt x="720092" y="450058"/>
                    </a:lnTo>
                    <a:lnTo>
                      <a:pt x="990126" y="720092"/>
                    </a:lnTo>
                    <a:lnTo>
                      <a:pt x="720092" y="720092"/>
                    </a:lnTo>
                    <a:lnTo>
                      <a:pt x="450057" y="720092"/>
                    </a:lnTo>
                    <a:lnTo>
                      <a:pt x="0" y="720092"/>
                    </a:lnTo>
                    <a:close/>
                  </a:path>
                </a:pathLst>
              </a:custGeom>
              <a:solidFill>
                <a:srgbClr val="94B6D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文字方塊 13"/>
              <p:cNvSpPr txBox="1"/>
              <p:nvPr/>
            </p:nvSpPr>
            <p:spPr>
              <a:xfrm>
                <a:off x="1217511" y="1676221"/>
                <a:ext cx="630080" cy="720092"/>
              </a:xfrm>
              <a:prstGeom prst="rect">
                <a:avLst/>
              </a:prstGeom>
              <a:solidFill>
                <a:srgbClr val="94B6D2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</a:rPr>
                  <a:t>2</a:t>
                </a:r>
              </a:p>
            </p:txBody>
          </p:sp>
        </p:grpSp>
      </p:grpSp>
      <p:grpSp>
        <p:nvGrpSpPr>
          <p:cNvPr id="41" name="群組 40"/>
          <p:cNvGrpSpPr/>
          <p:nvPr/>
        </p:nvGrpSpPr>
        <p:grpSpPr>
          <a:xfrm>
            <a:off x="813678" y="3566830"/>
            <a:ext cx="10870322" cy="726266"/>
            <a:chOff x="813678" y="3284984"/>
            <a:chExt cx="10870322" cy="726266"/>
          </a:xfrm>
        </p:grpSpPr>
        <p:sp>
          <p:nvSpPr>
            <p:cNvPr id="16" name="矩形 3"/>
            <p:cNvSpPr/>
            <p:nvPr/>
          </p:nvSpPr>
          <p:spPr>
            <a:xfrm>
              <a:off x="1533770" y="3291158"/>
              <a:ext cx="10150230" cy="720092"/>
            </a:xfrm>
            <a:custGeom>
              <a:avLst/>
              <a:gdLst>
                <a:gd name="connsiteX0" fmla="*/ 0 w 6120782"/>
                <a:gd name="connsiteY0" fmla="*/ 0 h 730031"/>
                <a:gd name="connsiteX1" fmla="*/ 6120782 w 6120782"/>
                <a:gd name="connsiteY1" fmla="*/ 0 h 730031"/>
                <a:gd name="connsiteX2" fmla="*/ 6120782 w 6120782"/>
                <a:gd name="connsiteY2" fmla="*/ 720092 h 730031"/>
                <a:gd name="connsiteX3" fmla="*/ 150164 w 6120782"/>
                <a:gd name="connsiteY3" fmla="*/ 730031 h 730031"/>
                <a:gd name="connsiteX4" fmla="*/ 0 w 6120782"/>
                <a:gd name="connsiteY4" fmla="*/ 450058 h 730031"/>
                <a:gd name="connsiteX5" fmla="*/ 0 w 6120782"/>
                <a:gd name="connsiteY5" fmla="*/ 0 h 730031"/>
                <a:gd name="connsiteX0" fmla="*/ 0 w 6120782"/>
                <a:gd name="connsiteY0" fmla="*/ 0 h 730031"/>
                <a:gd name="connsiteX1" fmla="*/ 6120782 w 6120782"/>
                <a:gd name="connsiteY1" fmla="*/ 0 h 730031"/>
                <a:gd name="connsiteX2" fmla="*/ 6120782 w 6120782"/>
                <a:gd name="connsiteY2" fmla="*/ 720092 h 730031"/>
                <a:gd name="connsiteX3" fmla="*/ 132183 w 6120782"/>
                <a:gd name="connsiteY3" fmla="*/ 730031 h 730031"/>
                <a:gd name="connsiteX4" fmla="*/ 0 w 6120782"/>
                <a:gd name="connsiteY4" fmla="*/ 450058 h 730031"/>
                <a:gd name="connsiteX5" fmla="*/ 0 w 6120782"/>
                <a:gd name="connsiteY5" fmla="*/ 0 h 730031"/>
                <a:gd name="connsiteX0" fmla="*/ 0 w 6120782"/>
                <a:gd name="connsiteY0" fmla="*/ 0 h 720092"/>
                <a:gd name="connsiteX1" fmla="*/ 6120782 w 6120782"/>
                <a:gd name="connsiteY1" fmla="*/ 0 h 720092"/>
                <a:gd name="connsiteX2" fmla="*/ 6120782 w 6120782"/>
                <a:gd name="connsiteY2" fmla="*/ 720092 h 720092"/>
                <a:gd name="connsiteX3" fmla="*/ 132183 w 6120782"/>
                <a:gd name="connsiteY3" fmla="*/ 720092 h 720092"/>
                <a:gd name="connsiteX4" fmla="*/ 0 w 6120782"/>
                <a:gd name="connsiteY4" fmla="*/ 450058 h 720092"/>
                <a:gd name="connsiteX5" fmla="*/ 0 w 6120782"/>
                <a:gd name="connsiteY5" fmla="*/ 0 h 720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20782" h="720092">
                  <a:moveTo>
                    <a:pt x="0" y="0"/>
                  </a:moveTo>
                  <a:lnTo>
                    <a:pt x="6120782" y="0"/>
                  </a:lnTo>
                  <a:lnTo>
                    <a:pt x="6120782" y="720092"/>
                  </a:lnTo>
                  <a:lnTo>
                    <a:pt x="132183" y="720092"/>
                  </a:lnTo>
                  <a:lnTo>
                    <a:pt x="0" y="45005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5400" cap="flat" cmpd="sng" algn="ctr">
              <a:solidFill>
                <a:srgbClr val="0E457D"/>
              </a:solidFill>
              <a:prstDash val="solid"/>
            </a:ln>
            <a:effectLst/>
          </p:spPr>
          <p:txBody>
            <a:bodyPr lIns="360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2000" kern="0" dirty="0">
                  <a:latin typeface="Calibri"/>
                  <a:ea typeface="+mn-ea"/>
                </a:rPr>
                <a:t>實驗五 </a:t>
              </a:r>
              <a:r>
                <a:rPr kumimoji="0" lang="en-US" altLang="zh-TW" sz="2000" kern="0" dirty="0">
                  <a:latin typeface="Calibri"/>
                  <a:ea typeface="+mn-ea"/>
                </a:rPr>
                <a:t>: </a:t>
              </a:r>
              <a:r>
                <a:rPr kumimoji="0" lang="zh-TW" altLang="en-US" sz="2000" kern="0" dirty="0">
                  <a:latin typeface="Calibri"/>
                  <a:ea typeface="+mn-ea"/>
                </a:rPr>
                <a:t>更新</a:t>
              </a:r>
              <a:r>
                <a:rPr kumimoji="0" lang="en-US" altLang="zh-TW" sz="2000" kern="0" dirty="0">
                  <a:latin typeface="Calibri"/>
                  <a:ea typeface="+mn-ea"/>
                </a:rPr>
                <a:t>NLMS</a:t>
              </a:r>
            </a:p>
          </p:txBody>
        </p:sp>
        <p:grpSp>
          <p:nvGrpSpPr>
            <p:cNvPr id="17" name="群組 16"/>
            <p:cNvGrpSpPr/>
            <p:nvPr/>
          </p:nvGrpSpPr>
          <p:grpSpPr>
            <a:xfrm>
              <a:off x="813678" y="3284984"/>
              <a:ext cx="990126" cy="726266"/>
              <a:chOff x="1151563" y="2602652"/>
              <a:chExt cx="990126" cy="726266"/>
            </a:xfrm>
          </p:grpSpPr>
          <p:sp>
            <p:nvSpPr>
              <p:cNvPr id="18" name="矩形 2"/>
              <p:cNvSpPr/>
              <p:nvPr/>
            </p:nvSpPr>
            <p:spPr>
              <a:xfrm>
                <a:off x="1151563" y="2608826"/>
                <a:ext cx="990126" cy="720092"/>
              </a:xfrm>
              <a:custGeom>
                <a:avLst/>
                <a:gdLst/>
                <a:ahLst/>
                <a:cxnLst/>
                <a:rect l="l" t="t" r="r" b="b"/>
                <a:pathLst>
                  <a:path w="990126" h="720092">
                    <a:moveTo>
                      <a:pt x="0" y="0"/>
                    </a:moveTo>
                    <a:lnTo>
                      <a:pt x="720092" y="0"/>
                    </a:lnTo>
                    <a:lnTo>
                      <a:pt x="720092" y="450058"/>
                    </a:lnTo>
                    <a:lnTo>
                      <a:pt x="990126" y="720092"/>
                    </a:lnTo>
                    <a:lnTo>
                      <a:pt x="720092" y="720092"/>
                    </a:lnTo>
                    <a:lnTo>
                      <a:pt x="450057" y="720092"/>
                    </a:lnTo>
                    <a:lnTo>
                      <a:pt x="0" y="720092"/>
                    </a:lnTo>
                    <a:close/>
                  </a:path>
                </a:pathLst>
              </a:custGeom>
              <a:solidFill>
                <a:srgbClr val="0E457D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" name="文字方塊 18"/>
              <p:cNvSpPr txBox="1"/>
              <p:nvPr/>
            </p:nvSpPr>
            <p:spPr>
              <a:xfrm>
                <a:off x="1217511" y="2602652"/>
                <a:ext cx="630080" cy="720092"/>
              </a:xfrm>
              <a:prstGeom prst="rect">
                <a:avLst/>
              </a:prstGeom>
              <a:solidFill>
                <a:srgbClr val="0E457D"/>
              </a:solidFill>
              <a:ln>
                <a:noFill/>
              </a:ln>
            </p:spPr>
            <p:txBody>
              <a:bodyPr wrap="none" rtlCol="0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</a:rPr>
                  <a:t>3</a:t>
                </a:r>
              </a:p>
            </p:txBody>
          </p:sp>
        </p:grpSp>
      </p:grpSp>
      <p:sp>
        <p:nvSpPr>
          <p:cNvPr id="35" name="Freeform 359"/>
          <p:cNvSpPr>
            <a:spLocks noChangeAspect="1"/>
          </p:cNvSpPr>
          <p:nvPr/>
        </p:nvSpPr>
        <p:spPr>
          <a:xfrm>
            <a:off x="1507468" y="4801682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 Placeholder 3"/>
          <p:cNvSpPr txBox="1">
            <a:spLocks/>
          </p:cNvSpPr>
          <p:nvPr/>
        </p:nvSpPr>
        <p:spPr>
          <a:xfrm>
            <a:off x="1976250" y="4797152"/>
            <a:ext cx="6712038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報告：請根據實驗結果詳細回答實驗三到實驗五的問題</a:t>
            </a:r>
          </a:p>
        </p:txBody>
      </p:sp>
    </p:spTree>
    <p:extLst>
      <p:ext uri="{BB962C8B-B14F-4D97-AF65-F5344CB8AC3E}">
        <p14:creationId xmlns:p14="http://schemas.microsoft.com/office/powerpoint/2010/main" val="31867452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latin typeface="微軟正黑體" panose="020B0604030504040204" pitchFamily="34" charset="-120"/>
              </a:rPr>
              <a:t>實驗三：產生、播放</a:t>
            </a:r>
            <a:r>
              <a:rPr lang="en-US" altLang="zh-TW" dirty="0">
                <a:latin typeface="微軟正黑體" panose="020B0604030504040204" pitchFamily="34" charset="-120"/>
              </a:rPr>
              <a:t>Echo</a:t>
            </a:r>
            <a:endParaRPr lang="zh-TW" altLang="en-US" dirty="0"/>
          </a:p>
        </p:txBody>
      </p:sp>
      <p:sp>
        <p:nvSpPr>
          <p:cNvPr id="12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30" name="object 8"/>
          <p:cNvSpPr txBox="1"/>
          <p:nvPr/>
        </p:nvSpPr>
        <p:spPr>
          <a:xfrm>
            <a:off x="1968880" y="4221088"/>
            <a:ext cx="9455712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將實驗一中各個參數</a:t>
            </a:r>
            <a:r>
              <a:rPr lang="en-US" altLang="zh-TW" spc="-10" dirty="0" err="1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nn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、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a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、</a:t>
            </a:r>
            <a:r>
              <a:rPr lang="en-US" altLang="zh-TW" spc="-10" dirty="0" err="1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rm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輸入不同的值之後把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ℎ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畫出來並說明其變化以及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echo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聽起來的感覺。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ex : 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反射次數調高、改變反射係數，</a:t>
            </a:r>
            <a:r>
              <a:rPr lang="en-US" altLang="zh-TW" i="1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Impulse Response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及聽起來會如何變化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?</a:t>
            </a:r>
            <a:endParaRPr lang="en-US" b="1" spc="-1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Calibri"/>
            </a:endParaRPr>
          </a:p>
        </p:txBody>
      </p:sp>
      <p:sp>
        <p:nvSpPr>
          <p:cNvPr id="31" name="object 5"/>
          <p:cNvSpPr/>
          <p:nvPr/>
        </p:nvSpPr>
        <p:spPr>
          <a:xfrm>
            <a:off x="695400" y="4111180"/>
            <a:ext cx="10992664" cy="1421472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8173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19135 w 5815116"/>
              <a:gd name="connsiteY5" fmla="*/ 905444 h 905444"/>
              <a:gd name="connsiteX0" fmla="*/ 199390 w 5815116"/>
              <a:gd name="connsiteY0" fmla="*/ 895350 h 914668"/>
              <a:gd name="connsiteX1" fmla="*/ 0 w 5815116"/>
              <a:gd name="connsiteY1" fmla="*/ 895350 h 914668"/>
              <a:gd name="connsiteX2" fmla="*/ 0 w 5815116"/>
              <a:gd name="connsiteY2" fmla="*/ 0 h 914668"/>
              <a:gd name="connsiteX3" fmla="*/ 5815116 w 5815116"/>
              <a:gd name="connsiteY3" fmla="*/ 0 h 914668"/>
              <a:gd name="connsiteX4" fmla="*/ 5815116 w 5815116"/>
              <a:gd name="connsiteY4" fmla="*/ 890651 h 914668"/>
              <a:gd name="connsiteX5" fmla="*/ 573608 w 5815116"/>
              <a:gd name="connsiteY5" fmla="*/ 914668 h 91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14668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73608" y="914668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" name="object 6"/>
          <p:cNvSpPr/>
          <p:nvPr/>
        </p:nvSpPr>
        <p:spPr>
          <a:xfrm>
            <a:off x="1685468" y="5438370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3" name="object 7"/>
          <p:cNvSpPr txBox="1"/>
          <p:nvPr/>
        </p:nvSpPr>
        <p:spPr>
          <a:xfrm>
            <a:off x="1057935" y="5129316"/>
            <a:ext cx="625316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4000" spc="-40" dirty="0">
                <a:solidFill>
                  <a:srgbClr val="7E7E7E"/>
                </a:solidFill>
                <a:latin typeface="Calibri"/>
                <a:cs typeface="Calibri"/>
              </a:rPr>
              <a:t>Q4</a:t>
            </a:r>
            <a:endParaRPr sz="88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4" name="object 21"/>
          <p:cNvSpPr txBox="1"/>
          <p:nvPr/>
        </p:nvSpPr>
        <p:spPr>
          <a:xfrm>
            <a:off x="2062206" y="5760839"/>
            <a:ext cx="691276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請至少嘗試三種組合並說明之間的差異</a:t>
            </a:r>
            <a:endParaRPr lang="en-US" altLang="zh-TW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35" name="Text Placeholder 3"/>
          <p:cNvSpPr txBox="1">
            <a:spLocks/>
          </p:cNvSpPr>
          <p:nvPr/>
        </p:nvSpPr>
        <p:spPr>
          <a:xfrm>
            <a:off x="767408" y="1746242"/>
            <a:ext cx="4073231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</a:rPr>
              <a:t>請參考期中專題一實驗流程 </a:t>
            </a:r>
            <a:r>
              <a:rPr kumimoji="0" lang="en-US" altLang="zh-TW" sz="2000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</a:rPr>
              <a:t>: </a:t>
            </a:r>
            <a:r>
              <a:rPr kumimoji="0" lang="zh-TW" altLang="en-US" sz="2000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</a:rPr>
              <a:t>實驗三</a:t>
            </a:r>
          </a:p>
        </p:txBody>
      </p:sp>
      <p:sp>
        <p:nvSpPr>
          <p:cNvPr id="37" name="Text Placeholder 3"/>
          <p:cNvSpPr txBox="1">
            <a:spLocks/>
          </p:cNvSpPr>
          <p:nvPr/>
        </p:nvSpPr>
        <p:spPr>
          <a:xfrm>
            <a:off x="1683251" y="2204864"/>
            <a:ext cx="637033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此實驗我們將使用工具</a:t>
            </a:r>
            <a:r>
              <a:rPr kumimoji="0" lang="en-US" altLang="zh-TW" sz="2000" dirty="0" err="1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echo.m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來產生一個空間的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echo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。</a:t>
            </a:r>
          </a:p>
        </p:txBody>
      </p:sp>
      <p:sp>
        <p:nvSpPr>
          <p:cNvPr id="38" name="Oval 77"/>
          <p:cNvSpPr>
            <a:spLocks noChangeArrowheads="1"/>
          </p:cNvSpPr>
          <p:nvPr/>
        </p:nvSpPr>
        <p:spPr bwMode="auto">
          <a:xfrm>
            <a:off x="1007630" y="2209970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39" name="Text Placeholder 3"/>
          <p:cNvSpPr txBox="1">
            <a:spLocks/>
          </p:cNvSpPr>
          <p:nvPr/>
        </p:nvSpPr>
        <p:spPr>
          <a:xfrm>
            <a:off x="1683251" y="2708920"/>
            <a:ext cx="10130979" cy="104644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此程式碼已經內涵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RIRG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的工具，首先將所需要的各種參數（房間大小、喇叭位置、麥克風</a:t>
            </a:r>
            <a:endParaRPr kumimoji="0" lang="en-US" altLang="zh-TW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位置、反射次數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…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等等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輸入，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RIRG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便會產生一個房間的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Impulse Response (h) 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之後我</a:t>
            </a:r>
            <a:endParaRPr kumimoji="0" lang="en-US" altLang="zh-TW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們再將 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h 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與我們讀入的音訊進行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convolution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的動作，就可以產生該房間的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echo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。</a:t>
            </a:r>
          </a:p>
        </p:txBody>
      </p:sp>
      <p:sp>
        <p:nvSpPr>
          <p:cNvPr id="40" name="Oval 77"/>
          <p:cNvSpPr>
            <a:spLocks noChangeArrowheads="1"/>
          </p:cNvSpPr>
          <p:nvPr/>
        </p:nvSpPr>
        <p:spPr bwMode="auto">
          <a:xfrm>
            <a:off x="1007630" y="2711267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57121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TW" altLang="en-US" dirty="0">
                <a:latin typeface="微軟正黑體" panose="020B0604030504040204" pitchFamily="34" charset="-120"/>
              </a:rPr>
              <a:t>實驗四：使用所提供的</a:t>
            </a:r>
            <a:r>
              <a:rPr lang="en-US" altLang="zh-TW" dirty="0">
                <a:latin typeface="微軟正黑體" panose="020B0604030504040204" pitchFamily="34" charset="-120"/>
              </a:rPr>
              <a:t>LMS</a:t>
            </a:r>
            <a:r>
              <a:rPr lang="zh-TW" altLang="en-US" dirty="0">
                <a:latin typeface="微軟正黑體" panose="020B0604030504040204" pitchFamily="34" charset="-120"/>
              </a:rPr>
              <a:t>程式來進行回音消除</a:t>
            </a:r>
            <a:r>
              <a:rPr lang="en-US" altLang="zh-TW" dirty="0">
                <a:latin typeface="微軟正黑體" panose="020B0604030504040204" pitchFamily="34" charset="-120"/>
              </a:rPr>
              <a:t>(</a:t>
            </a:r>
            <a:r>
              <a:rPr lang="en-US" altLang="zh-TW" dirty="0" err="1">
                <a:latin typeface="微軟正黑體" panose="020B0604030504040204" pitchFamily="34" charset="-120"/>
              </a:rPr>
              <a:t>Matlab</a:t>
            </a:r>
            <a:r>
              <a:rPr lang="en-US" altLang="zh-TW" dirty="0">
                <a:latin typeface="微軟正黑體" panose="020B0604030504040204" pitchFamily="34" charset="-120"/>
              </a:rPr>
              <a:t>)</a:t>
            </a:r>
            <a:r>
              <a:rPr lang="zh-TW" altLang="en-US" dirty="0">
                <a:latin typeface="微軟正黑體" panose="020B0604030504040204" pitchFamily="34" charset="-120"/>
              </a:rPr>
              <a:t>並觀察</a:t>
            </a:r>
            <a:r>
              <a:rPr lang="en-US" altLang="zh-TW" dirty="0">
                <a:latin typeface="微軟正黑體" panose="020B0604030504040204" pitchFamily="34" charset="-120"/>
              </a:rPr>
              <a:t>MSE (Mean square error) </a:t>
            </a:r>
          </a:p>
        </p:txBody>
      </p:sp>
      <p:sp>
        <p:nvSpPr>
          <p:cNvPr id="12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37" name="Text Placeholder 3"/>
          <p:cNvSpPr txBox="1">
            <a:spLocks/>
          </p:cNvSpPr>
          <p:nvPr/>
        </p:nvSpPr>
        <p:spPr>
          <a:xfrm>
            <a:off x="1683251" y="2210376"/>
            <a:ext cx="10130979" cy="104644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使用我們提供的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LMS.m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程式，觀察濾波器所估測的脈衝響應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ℎ ̂) 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與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RIRG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所模擬出來的脈衝</a:t>
            </a:r>
            <a:endParaRPr kumimoji="0" lang="en-US" altLang="zh-TW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響應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ℎ)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可使用先前教過的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hold on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指令並改變顏色來比較兩者，兩者越相近，代表濾波器</a:t>
            </a:r>
            <a:endParaRPr kumimoji="0" lang="en-US" altLang="zh-TW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所估測的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ℎ ̂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越正確。此程式中的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w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即為 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ℎ ̂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請選擇最後一列來繪製。</a:t>
            </a:r>
          </a:p>
        </p:txBody>
      </p:sp>
      <p:sp>
        <p:nvSpPr>
          <p:cNvPr id="38" name="Oval 77"/>
          <p:cNvSpPr>
            <a:spLocks noChangeArrowheads="1"/>
          </p:cNvSpPr>
          <p:nvPr/>
        </p:nvSpPr>
        <p:spPr bwMode="auto">
          <a:xfrm>
            <a:off x="1007630" y="2209970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39" name="Text Placeholder 3"/>
          <p:cNvSpPr txBox="1">
            <a:spLocks/>
          </p:cNvSpPr>
          <p:nvPr/>
        </p:nvSpPr>
        <p:spPr>
          <a:xfrm>
            <a:off x="1681262" y="3450749"/>
            <a:ext cx="10002738" cy="67710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進行此工具時由於考慮到電腦的硬體設備問題、以及方便之後的實驗，所以實驗參數不能</a:t>
            </a:r>
            <a:endParaRPr kumimoji="0" lang="en-US" altLang="zh-TW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像實驗一自己設定，請依照下列的表格來輸入參數。輸入音訊則改為高斯雜訊。</a:t>
            </a:r>
          </a:p>
        </p:txBody>
      </p:sp>
      <p:sp>
        <p:nvSpPr>
          <p:cNvPr id="40" name="Oval 77"/>
          <p:cNvSpPr>
            <a:spLocks noChangeArrowheads="1"/>
          </p:cNvSpPr>
          <p:nvPr/>
        </p:nvSpPr>
        <p:spPr bwMode="auto">
          <a:xfrm>
            <a:off x="1007630" y="3450749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1702221" y="4336068"/>
            <a:ext cx="10344178" cy="67710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透過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MSE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來觀察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ℎ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、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ℎ ̂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兩者之間的誤差，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MSE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的值越小，代表兩者差異越小，回音消除的</a:t>
            </a:r>
            <a:endParaRPr kumimoji="0" lang="en-US" altLang="zh-TW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效果越好，而計算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MSE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的程式已在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LMS.m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中幫同學寫好，同學們只需將其劃出並觀察即可。</a:t>
            </a:r>
          </a:p>
        </p:txBody>
      </p:sp>
      <p:sp>
        <p:nvSpPr>
          <p:cNvPr id="16" name="Oval 77"/>
          <p:cNvSpPr>
            <a:spLocks noChangeArrowheads="1"/>
          </p:cNvSpPr>
          <p:nvPr/>
        </p:nvSpPr>
        <p:spPr bwMode="auto">
          <a:xfrm>
            <a:off x="1028589" y="433606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17" name="object 5"/>
          <p:cNvSpPr/>
          <p:nvPr/>
        </p:nvSpPr>
        <p:spPr>
          <a:xfrm>
            <a:off x="696746" y="5375810"/>
            <a:ext cx="10991317" cy="646515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44012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907476 h 907476"/>
              <a:gd name="connsiteX1" fmla="*/ 0 w 3605250"/>
              <a:gd name="connsiteY1" fmla="*/ 895350 h 907476"/>
              <a:gd name="connsiteX2" fmla="*/ 0 w 3605250"/>
              <a:gd name="connsiteY2" fmla="*/ 0 h 907476"/>
              <a:gd name="connsiteX3" fmla="*/ 3605250 w 3605250"/>
              <a:gd name="connsiteY3" fmla="*/ 0 h 907476"/>
              <a:gd name="connsiteX4" fmla="*/ 3605250 w 3605250"/>
              <a:gd name="connsiteY4" fmla="*/ 890651 h 907476"/>
              <a:gd name="connsiteX5" fmla="*/ 474652 w 3605250"/>
              <a:gd name="connsiteY5" fmla="*/ 878524 h 907476"/>
              <a:gd name="connsiteX0" fmla="*/ 162471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27185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16599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5250" h="908767">
                <a:moveTo>
                  <a:pt x="116599" y="895350"/>
                </a:moveTo>
                <a:lnTo>
                  <a:pt x="0" y="895350"/>
                </a:lnTo>
                <a:lnTo>
                  <a:pt x="0" y="0"/>
                </a:lnTo>
                <a:lnTo>
                  <a:pt x="3605250" y="0"/>
                </a:lnTo>
                <a:lnTo>
                  <a:pt x="3605250" y="890651"/>
                </a:lnTo>
                <a:lnTo>
                  <a:pt x="365265" y="908767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object 6"/>
          <p:cNvSpPr/>
          <p:nvPr/>
        </p:nvSpPr>
        <p:spPr>
          <a:xfrm>
            <a:off x="1686814" y="593328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bject 7"/>
          <p:cNvSpPr txBox="1"/>
          <p:nvPr/>
        </p:nvSpPr>
        <p:spPr>
          <a:xfrm>
            <a:off x="1063208" y="5628695"/>
            <a:ext cx="618054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4000" spc="-40" dirty="0">
                <a:solidFill>
                  <a:srgbClr val="7E7E7E"/>
                </a:solidFill>
                <a:latin typeface="Calibri"/>
                <a:cs typeface="Calibri"/>
              </a:rPr>
              <a:t>Q5</a:t>
            </a:r>
            <a:endParaRPr sz="40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0" name="object 8"/>
          <p:cNvSpPr txBox="1"/>
          <p:nvPr/>
        </p:nvSpPr>
        <p:spPr>
          <a:xfrm>
            <a:off x="1968879" y="5483909"/>
            <a:ext cx="938370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請輸入不同的𝜇值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步階值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來觀察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MSE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的收斂情形以及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"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脈衝響應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" ℎ ̂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。</a:t>
            </a:r>
          </a:p>
        </p:txBody>
      </p:sp>
      <p:sp>
        <p:nvSpPr>
          <p:cNvPr id="21" name="object 21"/>
          <p:cNvSpPr txBox="1"/>
          <p:nvPr/>
        </p:nvSpPr>
        <p:spPr>
          <a:xfrm>
            <a:off x="2063552" y="6120879"/>
            <a:ext cx="9073008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47675" lvl="1" indent="-268288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至少比較三種𝜇值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大、中、小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下的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MSE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。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並說明𝜇值調大或調小是否影響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MSE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收斂速度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?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過大會如何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?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過小會如何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?)</a:t>
            </a:r>
          </a:p>
        </p:txBody>
      </p:sp>
      <p:sp>
        <p:nvSpPr>
          <p:cNvPr id="22" name="Text Placeholder 3"/>
          <p:cNvSpPr txBox="1">
            <a:spLocks/>
          </p:cNvSpPr>
          <p:nvPr/>
        </p:nvSpPr>
        <p:spPr>
          <a:xfrm>
            <a:off x="767408" y="1746242"/>
            <a:ext cx="4058803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</a:rPr>
              <a:t>請參考期中專題一實驗流程 </a:t>
            </a:r>
            <a:r>
              <a:rPr kumimoji="0" lang="en-US" altLang="zh-TW" sz="2000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</a:rPr>
              <a:t>: </a:t>
            </a:r>
            <a:r>
              <a:rPr kumimoji="0" lang="zh-TW" altLang="en-US" sz="2000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</a:rPr>
              <a:t>實驗四</a:t>
            </a:r>
          </a:p>
        </p:txBody>
      </p:sp>
    </p:spTree>
    <p:extLst>
      <p:ext uri="{BB962C8B-B14F-4D97-AF65-F5344CB8AC3E}">
        <p14:creationId xmlns:p14="http://schemas.microsoft.com/office/powerpoint/2010/main" val="33499611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24440" y="2701326"/>
            <a:ext cx="5419185" cy="727674"/>
          </a:xfrm>
        </p:spPr>
        <p:txBody>
          <a:bodyPr>
            <a:noAutofit/>
          </a:bodyPr>
          <a:lstStyle/>
          <a:p>
            <a:r>
              <a:rPr lang="en-US" altLang="zh-CN" sz="4400" dirty="0"/>
              <a:t>ECHO</a:t>
            </a:r>
            <a:endParaRPr lang="zh-CN" altLang="en-US" sz="44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6FFC11D-3423-45DD-9BC2-44A308075CFB}"/>
              </a:ext>
            </a:extLst>
          </p:cNvPr>
          <p:cNvSpPr txBox="1"/>
          <p:nvPr/>
        </p:nvSpPr>
        <p:spPr>
          <a:xfrm>
            <a:off x="3316529" y="1562028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12529F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01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12529F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72768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TW" altLang="en-US" dirty="0">
                <a:latin typeface="微軟正黑體" panose="020B0604030504040204" pitchFamily="34" charset="-120"/>
              </a:rPr>
              <a:t>實驗五：使用所提供的</a:t>
            </a:r>
            <a:r>
              <a:rPr lang="en-US" altLang="zh-TW" dirty="0">
                <a:latin typeface="微軟正黑體" panose="020B0604030504040204" pitchFamily="34" charset="-120"/>
              </a:rPr>
              <a:t>LMS</a:t>
            </a:r>
            <a:r>
              <a:rPr lang="zh-TW" altLang="en-US" dirty="0">
                <a:latin typeface="微軟正黑體" panose="020B0604030504040204" pitchFamily="34" charset="-120"/>
              </a:rPr>
              <a:t>程式來進行回音消除</a:t>
            </a:r>
            <a:r>
              <a:rPr lang="en-US" altLang="zh-TW" dirty="0">
                <a:latin typeface="微軟正黑體" panose="020B0604030504040204" pitchFamily="34" charset="-120"/>
              </a:rPr>
              <a:t>(</a:t>
            </a:r>
            <a:r>
              <a:rPr lang="en-US" altLang="zh-TW" dirty="0" err="1">
                <a:latin typeface="微軟正黑體" panose="020B0604030504040204" pitchFamily="34" charset="-120"/>
              </a:rPr>
              <a:t>Matlab</a:t>
            </a:r>
            <a:r>
              <a:rPr lang="en-US" altLang="zh-TW" dirty="0">
                <a:latin typeface="微軟正黑體" panose="020B0604030504040204" pitchFamily="34" charset="-120"/>
              </a:rPr>
              <a:t>)</a:t>
            </a:r>
            <a:r>
              <a:rPr lang="zh-TW" altLang="en-US" dirty="0">
                <a:latin typeface="微軟正黑體" panose="020B0604030504040204" pitchFamily="34" charset="-120"/>
              </a:rPr>
              <a:t>並觀察</a:t>
            </a:r>
            <a:r>
              <a:rPr lang="en-US" altLang="zh-TW" dirty="0">
                <a:latin typeface="微軟正黑體" panose="020B0604030504040204" pitchFamily="34" charset="-120"/>
              </a:rPr>
              <a:t>MSE (Mean square error) </a:t>
            </a:r>
          </a:p>
        </p:txBody>
      </p:sp>
      <p:sp>
        <p:nvSpPr>
          <p:cNvPr id="12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37" name="Text Placeholder 3"/>
          <p:cNvSpPr txBox="1">
            <a:spLocks/>
          </p:cNvSpPr>
          <p:nvPr/>
        </p:nvSpPr>
        <p:spPr>
          <a:xfrm>
            <a:off x="1683251" y="2277278"/>
            <a:ext cx="10031592" cy="104644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有關回音消除的濾波器，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LMS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只是其中一種，除了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LMS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以外還有其他效能更好的濾波器，</a:t>
            </a:r>
            <a:endParaRPr kumimoji="0" lang="en-US" altLang="zh-TW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因此在實驗四中我們將藉由修改</a:t>
            </a:r>
            <a:r>
              <a:rPr kumimoji="0" lang="en-US" altLang="zh-TW" sz="2000" dirty="0" err="1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full_lms.m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內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LMS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的演算法，來將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LMS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更新成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NLMS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</a:t>
            </a:r>
            <a:endParaRPr kumimoji="0" lang="en-US" altLang="zh-TW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來比較兩種濾波器估測 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ℎ ̂ 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以及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MSE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的效能，優劣為何。</a:t>
            </a:r>
          </a:p>
        </p:txBody>
      </p:sp>
      <p:sp>
        <p:nvSpPr>
          <p:cNvPr id="38" name="Oval 77"/>
          <p:cNvSpPr>
            <a:spLocks noChangeArrowheads="1"/>
          </p:cNvSpPr>
          <p:nvPr/>
        </p:nvSpPr>
        <p:spPr bwMode="auto">
          <a:xfrm>
            <a:off x="1007630" y="2276872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39" name="Text Placeholder 3"/>
          <p:cNvSpPr txBox="1">
            <a:spLocks/>
          </p:cNvSpPr>
          <p:nvPr/>
        </p:nvSpPr>
        <p:spPr>
          <a:xfrm>
            <a:off x="1681262" y="3450749"/>
            <a:ext cx="7849906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Hint</a:t>
            </a:r>
            <a:r>
              <a:rPr kumimoji="0" lang="zh-TW" altLang="en-US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：可從講義第五頁實驗理論中提供比較兩者濾波器的演算法下手。</a:t>
            </a:r>
          </a:p>
        </p:txBody>
      </p:sp>
      <p:sp>
        <p:nvSpPr>
          <p:cNvPr id="40" name="Oval 77"/>
          <p:cNvSpPr>
            <a:spLocks noChangeArrowheads="1"/>
          </p:cNvSpPr>
          <p:nvPr/>
        </p:nvSpPr>
        <p:spPr bwMode="auto">
          <a:xfrm>
            <a:off x="1007630" y="3450749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17" name="object 5"/>
          <p:cNvSpPr/>
          <p:nvPr/>
        </p:nvSpPr>
        <p:spPr>
          <a:xfrm>
            <a:off x="696746" y="4176354"/>
            <a:ext cx="10991317" cy="646515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44012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907476 h 907476"/>
              <a:gd name="connsiteX1" fmla="*/ 0 w 3605250"/>
              <a:gd name="connsiteY1" fmla="*/ 895350 h 907476"/>
              <a:gd name="connsiteX2" fmla="*/ 0 w 3605250"/>
              <a:gd name="connsiteY2" fmla="*/ 0 h 907476"/>
              <a:gd name="connsiteX3" fmla="*/ 3605250 w 3605250"/>
              <a:gd name="connsiteY3" fmla="*/ 0 h 907476"/>
              <a:gd name="connsiteX4" fmla="*/ 3605250 w 3605250"/>
              <a:gd name="connsiteY4" fmla="*/ 890651 h 907476"/>
              <a:gd name="connsiteX5" fmla="*/ 474652 w 3605250"/>
              <a:gd name="connsiteY5" fmla="*/ 878524 h 907476"/>
              <a:gd name="connsiteX0" fmla="*/ 162471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27185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16599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5250" h="908767">
                <a:moveTo>
                  <a:pt x="116599" y="895350"/>
                </a:moveTo>
                <a:lnTo>
                  <a:pt x="0" y="895350"/>
                </a:lnTo>
                <a:lnTo>
                  <a:pt x="0" y="0"/>
                </a:lnTo>
                <a:lnTo>
                  <a:pt x="3605250" y="0"/>
                </a:lnTo>
                <a:lnTo>
                  <a:pt x="3605250" y="890651"/>
                </a:lnTo>
                <a:lnTo>
                  <a:pt x="365265" y="908767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object 6"/>
          <p:cNvSpPr/>
          <p:nvPr/>
        </p:nvSpPr>
        <p:spPr>
          <a:xfrm>
            <a:off x="1686814" y="473382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bject 7"/>
          <p:cNvSpPr txBox="1"/>
          <p:nvPr/>
        </p:nvSpPr>
        <p:spPr>
          <a:xfrm>
            <a:off x="1063208" y="4429239"/>
            <a:ext cx="618054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4000" spc="-40" dirty="0">
                <a:solidFill>
                  <a:srgbClr val="7E7E7E"/>
                </a:solidFill>
                <a:latin typeface="Calibri"/>
                <a:cs typeface="Calibri"/>
              </a:rPr>
              <a:t>Q6</a:t>
            </a:r>
            <a:endParaRPr sz="40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0" name="object 8"/>
          <p:cNvSpPr txBox="1"/>
          <p:nvPr/>
        </p:nvSpPr>
        <p:spPr>
          <a:xfrm>
            <a:off x="1968879" y="4284453"/>
            <a:ext cx="938370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請比較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LMS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以及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NLMS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的差異</a:t>
            </a:r>
          </a:p>
        </p:txBody>
      </p:sp>
      <p:sp>
        <p:nvSpPr>
          <p:cNvPr id="21" name="object 21"/>
          <p:cNvSpPr txBox="1"/>
          <p:nvPr/>
        </p:nvSpPr>
        <p:spPr>
          <a:xfrm>
            <a:off x="2063552" y="4921423"/>
            <a:ext cx="9073008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47675" lvl="1" indent="-268288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MSE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收斂情形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?input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若改為語音檔何者效能較佳？</a:t>
            </a:r>
            <a:endParaRPr lang="en-US" altLang="zh-TW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marL="447675" lvl="1" indent="-268288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請將修改為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NLMS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後的程式碼上傳。</a:t>
            </a:r>
          </a:p>
        </p:txBody>
      </p:sp>
      <p:sp>
        <p:nvSpPr>
          <p:cNvPr id="26" name="Text Placeholder 3"/>
          <p:cNvSpPr txBox="1">
            <a:spLocks/>
          </p:cNvSpPr>
          <p:nvPr/>
        </p:nvSpPr>
        <p:spPr>
          <a:xfrm>
            <a:off x="767408" y="1746242"/>
            <a:ext cx="4044377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</a:rPr>
              <a:t>請參考期中專題一實驗流程 </a:t>
            </a:r>
            <a:r>
              <a:rPr kumimoji="0" lang="en-US" altLang="zh-TW" sz="2000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</a:rPr>
              <a:t>: </a:t>
            </a:r>
            <a:r>
              <a:rPr kumimoji="0" lang="zh-TW" altLang="en-US" sz="2000" u="dbl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</a:rPr>
              <a:t>實驗五</a:t>
            </a:r>
          </a:p>
        </p:txBody>
      </p:sp>
    </p:spTree>
    <p:extLst>
      <p:ext uri="{BB962C8B-B14F-4D97-AF65-F5344CB8AC3E}">
        <p14:creationId xmlns:p14="http://schemas.microsoft.com/office/powerpoint/2010/main" val="31375086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TW" altLang="en-US" dirty="0">
                <a:latin typeface="微軟正黑體" panose="020B0604030504040204" pitchFamily="34" charset="-120"/>
              </a:rPr>
              <a:t>報告說明及配分</a:t>
            </a:r>
            <a:endParaRPr lang="en-US" altLang="zh-TW" dirty="0">
              <a:latin typeface="微軟正黑體" panose="020B0604030504040204" pitchFamily="34" charset="-120"/>
            </a:endParaRPr>
          </a:p>
        </p:txBody>
      </p:sp>
      <p:sp>
        <p:nvSpPr>
          <p:cNvPr id="12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graphicFrame>
        <p:nvGraphicFramePr>
          <p:cNvPr id="26" name="表格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9260962"/>
              </p:ext>
            </p:extLst>
          </p:nvPr>
        </p:nvGraphicFramePr>
        <p:xfrm>
          <a:off x="812800" y="2132856"/>
          <a:ext cx="10899824" cy="2088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1986">
                  <a:extLst>
                    <a:ext uri="{9D8B030D-6E8A-4147-A177-3AD203B41FA5}">
                      <a16:colId xmlns:a16="http://schemas.microsoft.com/office/drawing/2014/main" val="3707908178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137668448"/>
                    </a:ext>
                  </a:extLst>
                </a:gridCol>
                <a:gridCol w="8043702">
                  <a:extLst>
                    <a:ext uri="{9D8B030D-6E8A-4147-A177-3AD203B41FA5}">
                      <a16:colId xmlns:a16="http://schemas.microsoft.com/office/drawing/2014/main" val="37789598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2000" dirty="0"/>
                        <a:t>項目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2000" b="1" baseline="0" dirty="0"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Times New Roman" panose="02020603050405020304" pitchFamily="18" charset="0"/>
                        </a:rPr>
                        <a:t>配分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2000" b="1" baseline="0" dirty="0"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Times New Roman" panose="02020603050405020304" pitchFamily="18" charset="0"/>
                        </a:rPr>
                        <a:t>說明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5853620"/>
                  </a:ext>
                </a:extLst>
              </a:tr>
              <a:tr h="827896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2000" b="0" dirty="0"/>
                        <a:t>書面報告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0" baseline="0" dirty="0">
                          <a:latin typeface="Arial" panose="020B0604020202020204" pitchFamily="34" charset="0"/>
                          <a:ea typeface="+mn-ea"/>
                        </a:rPr>
                        <a:t>80%</a:t>
                      </a:r>
                      <a:endParaRPr lang="zh-TW" altLang="en-US" sz="2000" b="0" baseline="0" dirty="0">
                        <a:latin typeface="Arial" panose="020B0604020202020204" pitchFamily="34" charset="0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TW" altLang="en-US" sz="2000" b="0" baseline="0" dirty="0"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請詳細回答問題與討論六個問題寫成一份報告，在</a:t>
                      </a:r>
                      <a:r>
                        <a:rPr lang="en-US" altLang="zh-TW" sz="2000" b="0" baseline="0" dirty="0"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1/12</a:t>
                      </a:r>
                      <a:r>
                        <a:rPr lang="zh-TW" altLang="en-US" sz="2000" b="0" baseline="0" dirty="0"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前將報告與</a:t>
                      </a:r>
                      <a:r>
                        <a:rPr lang="en-US" altLang="zh-TW" sz="2000" b="0" baseline="0" dirty="0"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m</a:t>
                      </a:r>
                      <a:r>
                        <a:rPr lang="zh-TW" altLang="en-US" sz="2000" b="0" baseline="0" dirty="0"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檔上傳至</a:t>
                      </a:r>
                      <a:r>
                        <a:rPr lang="en-US" altLang="zh-TW" sz="2000" b="0" baseline="0" dirty="0"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portal</a:t>
                      </a:r>
                      <a:r>
                        <a:rPr lang="zh-TW" altLang="en-US" sz="2000" b="0" baseline="0" dirty="0"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，並且在</a:t>
                      </a:r>
                      <a:r>
                        <a:rPr lang="en-US" altLang="zh-TW" sz="2000" b="0" baseline="0" dirty="0"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1/12</a:t>
                      </a:r>
                      <a:r>
                        <a:rPr lang="zh-TW" altLang="en-US" sz="2000" b="0" baseline="0" dirty="0"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上課時將報告以紙本型式印出來繳交。</a:t>
                      </a:r>
                      <a:endParaRPr lang="zh-TW" altLang="en-US" sz="2000" b="0" baseline="0" dirty="0">
                        <a:latin typeface="Arial" panose="020B0604020202020204" pitchFamily="34" charset="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2053146"/>
                  </a:ext>
                </a:extLst>
              </a:tr>
              <a:tr h="86409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0" baseline="0" dirty="0">
                          <a:latin typeface="Arial" panose="020B0604020202020204" pitchFamily="34" charset="0"/>
                          <a:ea typeface="+mn-ea"/>
                        </a:rPr>
                        <a:t>M</a:t>
                      </a:r>
                      <a:r>
                        <a:rPr lang="zh-TW" altLang="en-US" sz="2000" b="0" baseline="0" dirty="0">
                          <a:latin typeface="Arial" panose="020B0604020202020204" pitchFamily="34" charset="0"/>
                          <a:ea typeface="+mn-ea"/>
                        </a:rPr>
                        <a:t>檔</a:t>
                      </a:r>
                      <a:r>
                        <a:rPr lang="en-US" altLang="zh-TW" sz="2000" b="0" baseline="0" dirty="0"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&amp;</a:t>
                      </a:r>
                      <a:r>
                        <a:rPr lang="zh-TW" altLang="en-US" sz="2000" b="0" baseline="0" dirty="0"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音檔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000" b="0" baseline="0" dirty="0"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0%</a:t>
                      </a:r>
                      <a:endParaRPr lang="zh-TW" altLang="en-US" sz="2000" b="0" baseline="0" dirty="0"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TW" altLang="en-US" sz="2000" b="0" baseline="0" dirty="0">
                          <a:latin typeface="Arial" panose="020B0604020202020204" pitchFamily="34" charset="0"/>
                          <a:ea typeface="+mn-ea"/>
                        </a:rPr>
                        <a:t>請至</a:t>
                      </a:r>
                      <a:r>
                        <a:rPr lang="en-US" altLang="zh-TW" sz="2000" b="0" baseline="0" dirty="0">
                          <a:latin typeface="Arial" panose="020B0604020202020204" pitchFamily="34" charset="0"/>
                          <a:ea typeface="+mn-ea"/>
                        </a:rPr>
                        <a:t>portal</a:t>
                      </a:r>
                      <a:r>
                        <a:rPr lang="zh-TW" altLang="en-US" sz="2000" b="0" baseline="0" dirty="0">
                          <a:latin typeface="Arial" panose="020B0604020202020204" pitchFamily="34" charset="0"/>
                          <a:ea typeface="+mn-ea"/>
                        </a:rPr>
                        <a:t>上傳程式碼</a:t>
                      </a:r>
                      <a:r>
                        <a:rPr lang="en-US" altLang="zh-TW" sz="2000" b="0" baseline="0" dirty="0">
                          <a:latin typeface="Arial" panose="020B0604020202020204" pitchFamily="34" charset="0"/>
                          <a:ea typeface="+mn-ea"/>
                        </a:rPr>
                        <a:t>(1/12</a:t>
                      </a:r>
                      <a:r>
                        <a:rPr lang="zh-TW" altLang="en-US" sz="2000" b="0" baseline="0" dirty="0">
                          <a:latin typeface="Arial" panose="020B0604020202020204" pitchFamily="34" charset="0"/>
                          <a:ea typeface="+mn-ea"/>
                        </a:rPr>
                        <a:t>前</a:t>
                      </a:r>
                      <a:r>
                        <a:rPr lang="en-US" altLang="zh-TW" sz="2000" b="0" baseline="0" dirty="0">
                          <a:latin typeface="Arial" panose="020B0604020202020204" pitchFamily="34" charset="0"/>
                          <a:ea typeface="+mn-ea"/>
                        </a:rPr>
                        <a:t>)</a:t>
                      </a:r>
                      <a:r>
                        <a:rPr lang="zh-TW" altLang="en-US" sz="2000" b="0" baseline="0" dirty="0">
                          <a:latin typeface="Arial" panose="020B0604020202020204" pitchFamily="34" charset="0"/>
                          <a:ea typeface="+mn-ea"/>
                        </a:rPr>
                        <a:t>與問題二的音檔</a:t>
                      </a:r>
                      <a:r>
                        <a:rPr lang="en-US" altLang="zh-TW" sz="2000" b="0" baseline="0" dirty="0">
                          <a:latin typeface="Arial" panose="020B0604020202020204" pitchFamily="34" charset="0"/>
                          <a:ea typeface="+mn-ea"/>
                        </a:rPr>
                        <a:t>(1/12</a:t>
                      </a:r>
                      <a:r>
                        <a:rPr lang="zh-TW" altLang="en-US" sz="2000" b="0" baseline="0" dirty="0">
                          <a:latin typeface="Arial" panose="020B0604020202020204" pitchFamily="34" charset="0"/>
                          <a:ea typeface="+mn-ea"/>
                        </a:rPr>
                        <a:t>當天繳交</a:t>
                      </a:r>
                      <a:r>
                        <a:rPr lang="en-US" altLang="zh-TW" sz="2000" b="0" baseline="0" dirty="0">
                          <a:latin typeface="Arial" panose="020B0604020202020204" pitchFamily="34" charset="0"/>
                          <a:ea typeface="+mn-ea"/>
                        </a:rPr>
                        <a:t>)</a:t>
                      </a:r>
                      <a:r>
                        <a:rPr lang="zh-TW" altLang="en-US" sz="2000" b="0" baseline="0" dirty="0">
                          <a:latin typeface="Arial" panose="020B0604020202020204" pitchFamily="34" charset="0"/>
                          <a:ea typeface="+mn-ea"/>
                        </a:rPr>
                        <a:t>。</a:t>
                      </a:r>
                      <a:endParaRPr lang="zh-TW" altLang="en-US" sz="2000" b="0" baseline="0" dirty="0"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70493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90662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教學影片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D0BA13-1C5E-40B6-BB8D-C972D465206B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TW" alt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"/>
          </p:nvPr>
        </p:nvSpPr>
        <p:spPr>
          <a:xfrm>
            <a:off x="2792250" y="3056895"/>
            <a:ext cx="8560334" cy="46085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TW" altLang="en-US" sz="2400" dirty="0">
                <a:uFill>
                  <a:solidFill>
                    <a:srgbClr val="0000FF"/>
                  </a:solidFill>
                </a:uFill>
                <a:hlinkClick r:id="rId2"/>
              </a:rPr>
              <a:t>影片中</a:t>
            </a:r>
            <a:r>
              <a:rPr lang="en-US" altLang="zh-TW" sz="2400" dirty="0" err="1">
                <a:uFill>
                  <a:solidFill>
                    <a:srgbClr val="0000FF"/>
                  </a:solidFill>
                </a:uFill>
                <a:hlinkClick r:id="rId2"/>
              </a:rPr>
              <a:t>audio_SNR.m</a:t>
            </a:r>
            <a:r>
              <a:rPr lang="zh-TW" altLang="en-US" sz="2400" dirty="0">
                <a:uFill>
                  <a:solidFill>
                    <a:srgbClr val="0000FF"/>
                  </a:solidFill>
                </a:uFill>
                <a:hlinkClick r:id="rId2"/>
              </a:rPr>
              <a:t>裡有關計算</a:t>
            </a:r>
            <a:r>
              <a:rPr lang="en-US" altLang="zh-TW" sz="2400" dirty="0">
                <a:uFill>
                  <a:solidFill>
                    <a:srgbClr val="0000FF"/>
                  </a:solidFill>
                </a:uFill>
                <a:hlinkClick r:id="rId2"/>
              </a:rPr>
              <a:t>SNR</a:t>
            </a:r>
            <a:r>
              <a:rPr lang="zh-TW" altLang="en-US" sz="2400" dirty="0">
                <a:uFill>
                  <a:solidFill>
                    <a:srgbClr val="0000FF"/>
                  </a:solidFill>
                </a:uFill>
                <a:hlinkClick r:id="rId2"/>
              </a:rPr>
              <a:t>的地方有誤，請同學注意</a:t>
            </a:r>
            <a:r>
              <a:rPr lang="en-US" altLang="zh-TW" sz="2400" dirty="0">
                <a:uFill>
                  <a:solidFill>
                    <a:srgbClr val="0000FF"/>
                  </a:solidFill>
                </a:uFill>
                <a:hlinkClick r:id="rId2"/>
              </a:rPr>
              <a:t>!</a:t>
            </a:r>
          </a:p>
        </p:txBody>
      </p:sp>
      <p:sp>
        <p:nvSpPr>
          <p:cNvPr id="7" name="object 3"/>
          <p:cNvSpPr>
            <a:spLocks noChangeAspect="1"/>
          </p:cNvSpPr>
          <p:nvPr/>
        </p:nvSpPr>
        <p:spPr>
          <a:xfrm>
            <a:off x="8832304" y="3717032"/>
            <a:ext cx="1358485" cy="1887619"/>
          </a:xfrm>
          <a:custGeom>
            <a:avLst/>
            <a:gdLst/>
            <a:ahLst/>
            <a:cxnLst/>
            <a:rect l="l" t="t" r="r" b="b"/>
            <a:pathLst>
              <a:path w="1669415" h="2319654">
                <a:moveTo>
                  <a:pt x="659119" y="0"/>
                </a:moveTo>
                <a:lnTo>
                  <a:pt x="584951" y="0"/>
                </a:lnTo>
                <a:lnTo>
                  <a:pt x="584951" y="290195"/>
                </a:lnTo>
                <a:lnTo>
                  <a:pt x="659119" y="290195"/>
                </a:lnTo>
                <a:lnTo>
                  <a:pt x="659119" y="0"/>
                </a:lnTo>
                <a:close/>
              </a:path>
              <a:path w="1669415" h="2319654">
                <a:moveTo>
                  <a:pt x="225446" y="1036447"/>
                </a:moveTo>
                <a:lnTo>
                  <a:pt x="70194" y="1036447"/>
                </a:lnTo>
                <a:lnTo>
                  <a:pt x="53603" y="1049147"/>
                </a:lnTo>
                <a:lnTo>
                  <a:pt x="19275" y="1087247"/>
                </a:lnTo>
                <a:lnTo>
                  <a:pt x="743" y="1138047"/>
                </a:lnTo>
                <a:lnTo>
                  <a:pt x="0" y="1163447"/>
                </a:lnTo>
                <a:lnTo>
                  <a:pt x="4424" y="1201547"/>
                </a:lnTo>
                <a:lnTo>
                  <a:pt x="13632" y="1226947"/>
                </a:lnTo>
                <a:lnTo>
                  <a:pt x="27238" y="1265047"/>
                </a:lnTo>
                <a:lnTo>
                  <a:pt x="44856" y="1303147"/>
                </a:lnTo>
                <a:lnTo>
                  <a:pt x="66101" y="1341247"/>
                </a:lnTo>
                <a:lnTo>
                  <a:pt x="90588" y="1379347"/>
                </a:lnTo>
                <a:lnTo>
                  <a:pt x="117931" y="1430147"/>
                </a:lnTo>
                <a:lnTo>
                  <a:pt x="147746" y="1480947"/>
                </a:lnTo>
                <a:lnTo>
                  <a:pt x="179647" y="1519047"/>
                </a:lnTo>
                <a:lnTo>
                  <a:pt x="213248" y="1569847"/>
                </a:lnTo>
                <a:lnTo>
                  <a:pt x="248165" y="1620647"/>
                </a:lnTo>
                <a:lnTo>
                  <a:pt x="284012" y="1684147"/>
                </a:lnTo>
                <a:lnTo>
                  <a:pt x="320404" y="1734947"/>
                </a:lnTo>
                <a:lnTo>
                  <a:pt x="356955" y="1798447"/>
                </a:lnTo>
                <a:lnTo>
                  <a:pt x="393281" y="1861947"/>
                </a:lnTo>
                <a:lnTo>
                  <a:pt x="428995" y="1925447"/>
                </a:lnTo>
                <a:lnTo>
                  <a:pt x="454095" y="1963547"/>
                </a:lnTo>
                <a:lnTo>
                  <a:pt x="480241" y="2001647"/>
                </a:lnTo>
                <a:lnTo>
                  <a:pt x="507366" y="2039747"/>
                </a:lnTo>
                <a:lnTo>
                  <a:pt x="535407" y="2077847"/>
                </a:lnTo>
                <a:lnTo>
                  <a:pt x="564298" y="2115947"/>
                </a:lnTo>
                <a:lnTo>
                  <a:pt x="593974" y="2141347"/>
                </a:lnTo>
                <a:lnTo>
                  <a:pt x="624369" y="2166747"/>
                </a:lnTo>
                <a:lnTo>
                  <a:pt x="655419" y="2192147"/>
                </a:lnTo>
                <a:lnTo>
                  <a:pt x="687058" y="2217547"/>
                </a:lnTo>
                <a:lnTo>
                  <a:pt x="719222" y="2230247"/>
                </a:lnTo>
                <a:lnTo>
                  <a:pt x="751845" y="2255647"/>
                </a:lnTo>
                <a:lnTo>
                  <a:pt x="885624" y="2306447"/>
                </a:lnTo>
                <a:lnTo>
                  <a:pt x="919565" y="2306447"/>
                </a:lnTo>
                <a:lnTo>
                  <a:pt x="953574" y="2319147"/>
                </a:lnTo>
                <a:lnTo>
                  <a:pt x="1154540" y="2319147"/>
                </a:lnTo>
                <a:lnTo>
                  <a:pt x="1248757" y="2293747"/>
                </a:lnTo>
                <a:lnTo>
                  <a:pt x="1293601" y="2281047"/>
                </a:lnTo>
                <a:lnTo>
                  <a:pt x="1336721" y="2255647"/>
                </a:lnTo>
                <a:lnTo>
                  <a:pt x="1015522" y="2255647"/>
                </a:lnTo>
                <a:lnTo>
                  <a:pt x="977277" y="2242947"/>
                </a:lnTo>
                <a:lnTo>
                  <a:pt x="940566" y="2242947"/>
                </a:lnTo>
                <a:lnTo>
                  <a:pt x="905333" y="2230247"/>
                </a:lnTo>
                <a:lnTo>
                  <a:pt x="871519" y="2230247"/>
                </a:lnTo>
                <a:lnTo>
                  <a:pt x="839067" y="2217547"/>
                </a:lnTo>
                <a:lnTo>
                  <a:pt x="807920" y="2204847"/>
                </a:lnTo>
                <a:lnTo>
                  <a:pt x="778020" y="2192147"/>
                </a:lnTo>
                <a:lnTo>
                  <a:pt x="749309" y="2166747"/>
                </a:lnTo>
                <a:lnTo>
                  <a:pt x="721730" y="2154047"/>
                </a:lnTo>
                <a:lnTo>
                  <a:pt x="695226" y="2128647"/>
                </a:lnTo>
                <a:lnTo>
                  <a:pt x="669739" y="2115947"/>
                </a:lnTo>
                <a:lnTo>
                  <a:pt x="645210" y="2090547"/>
                </a:lnTo>
                <a:lnTo>
                  <a:pt x="621584" y="2065147"/>
                </a:lnTo>
                <a:lnTo>
                  <a:pt x="598802" y="2039747"/>
                </a:lnTo>
                <a:lnTo>
                  <a:pt x="576807" y="2014347"/>
                </a:lnTo>
                <a:lnTo>
                  <a:pt x="555541" y="1976247"/>
                </a:lnTo>
                <a:lnTo>
                  <a:pt x="534947" y="1950847"/>
                </a:lnTo>
                <a:lnTo>
                  <a:pt x="514967" y="1925447"/>
                </a:lnTo>
                <a:lnTo>
                  <a:pt x="495543" y="1887347"/>
                </a:lnTo>
                <a:lnTo>
                  <a:pt x="453950" y="1823847"/>
                </a:lnTo>
                <a:lnTo>
                  <a:pt x="413664" y="1747647"/>
                </a:lnTo>
                <a:lnTo>
                  <a:pt x="374841" y="1696847"/>
                </a:lnTo>
                <a:lnTo>
                  <a:pt x="337636" y="1633347"/>
                </a:lnTo>
                <a:lnTo>
                  <a:pt x="302204" y="1582547"/>
                </a:lnTo>
                <a:lnTo>
                  <a:pt x="268700" y="1531747"/>
                </a:lnTo>
                <a:lnTo>
                  <a:pt x="237280" y="1480947"/>
                </a:lnTo>
                <a:lnTo>
                  <a:pt x="208099" y="1430147"/>
                </a:lnTo>
                <a:lnTo>
                  <a:pt x="181311" y="1392047"/>
                </a:lnTo>
                <a:lnTo>
                  <a:pt x="157072" y="1353947"/>
                </a:lnTo>
                <a:lnTo>
                  <a:pt x="135538" y="1315847"/>
                </a:lnTo>
                <a:lnTo>
                  <a:pt x="116863" y="1277747"/>
                </a:lnTo>
                <a:lnTo>
                  <a:pt x="101202" y="1252347"/>
                </a:lnTo>
                <a:lnTo>
                  <a:pt x="88711" y="1226947"/>
                </a:lnTo>
                <a:lnTo>
                  <a:pt x="79545" y="1201547"/>
                </a:lnTo>
                <a:lnTo>
                  <a:pt x="73859" y="1176147"/>
                </a:lnTo>
                <a:lnTo>
                  <a:pt x="71807" y="1163447"/>
                </a:lnTo>
                <a:lnTo>
                  <a:pt x="73547" y="1138047"/>
                </a:lnTo>
                <a:lnTo>
                  <a:pt x="79231" y="1125347"/>
                </a:lnTo>
                <a:lnTo>
                  <a:pt x="89016" y="1112647"/>
                </a:lnTo>
                <a:lnTo>
                  <a:pt x="101765" y="1099947"/>
                </a:lnTo>
                <a:lnTo>
                  <a:pt x="333775" y="1099947"/>
                </a:lnTo>
                <a:lnTo>
                  <a:pt x="246773" y="1049147"/>
                </a:lnTo>
                <a:lnTo>
                  <a:pt x="225446" y="1036447"/>
                </a:lnTo>
                <a:close/>
              </a:path>
              <a:path w="1669415" h="2319654">
                <a:moveTo>
                  <a:pt x="1594855" y="1709547"/>
                </a:moveTo>
                <a:lnTo>
                  <a:pt x="1593076" y="1747647"/>
                </a:lnTo>
                <a:lnTo>
                  <a:pt x="1587828" y="1798447"/>
                </a:lnTo>
                <a:lnTo>
                  <a:pt x="1579248" y="1836547"/>
                </a:lnTo>
                <a:lnTo>
                  <a:pt x="1567472" y="1874647"/>
                </a:lnTo>
                <a:lnTo>
                  <a:pt x="1552636" y="1912747"/>
                </a:lnTo>
                <a:lnTo>
                  <a:pt x="1534875" y="1950847"/>
                </a:lnTo>
                <a:lnTo>
                  <a:pt x="1514327" y="1988947"/>
                </a:lnTo>
                <a:lnTo>
                  <a:pt x="1491126" y="2027047"/>
                </a:lnTo>
                <a:lnTo>
                  <a:pt x="1465409" y="2052447"/>
                </a:lnTo>
                <a:lnTo>
                  <a:pt x="1437312" y="2090547"/>
                </a:lnTo>
                <a:lnTo>
                  <a:pt x="1406971" y="2115947"/>
                </a:lnTo>
                <a:lnTo>
                  <a:pt x="1374522" y="2141347"/>
                </a:lnTo>
                <a:lnTo>
                  <a:pt x="1340100" y="2166747"/>
                </a:lnTo>
                <a:lnTo>
                  <a:pt x="1303843" y="2192147"/>
                </a:lnTo>
                <a:lnTo>
                  <a:pt x="1265886" y="2204847"/>
                </a:lnTo>
                <a:lnTo>
                  <a:pt x="1226364" y="2230247"/>
                </a:lnTo>
                <a:lnTo>
                  <a:pt x="1185415" y="2242947"/>
                </a:lnTo>
                <a:lnTo>
                  <a:pt x="1143174" y="2242947"/>
                </a:lnTo>
                <a:lnTo>
                  <a:pt x="1099777" y="2255647"/>
                </a:lnTo>
                <a:lnTo>
                  <a:pt x="1336721" y="2255647"/>
                </a:lnTo>
                <a:lnTo>
                  <a:pt x="1377956" y="2230247"/>
                </a:lnTo>
                <a:lnTo>
                  <a:pt x="1417143" y="2204847"/>
                </a:lnTo>
                <a:lnTo>
                  <a:pt x="1454122" y="2179447"/>
                </a:lnTo>
                <a:lnTo>
                  <a:pt x="1488731" y="2141347"/>
                </a:lnTo>
                <a:lnTo>
                  <a:pt x="1520810" y="2115947"/>
                </a:lnTo>
                <a:lnTo>
                  <a:pt x="1550196" y="2077847"/>
                </a:lnTo>
                <a:lnTo>
                  <a:pt x="1576729" y="2039747"/>
                </a:lnTo>
                <a:lnTo>
                  <a:pt x="1600248" y="1988947"/>
                </a:lnTo>
                <a:lnTo>
                  <a:pt x="1620591" y="1950847"/>
                </a:lnTo>
                <a:lnTo>
                  <a:pt x="1637596" y="1900047"/>
                </a:lnTo>
                <a:lnTo>
                  <a:pt x="1651104" y="1861947"/>
                </a:lnTo>
                <a:lnTo>
                  <a:pt x="1660952" y="1811147"/>
                </a:lnTo>
                <a:lnTo>
                  <a:pt x="1663965" y="1785747"/>
                </a:lnTo>
                <a:lnTo>
                  <a:pt x="1594855" y="1785747"/>
                </a:lnTo>
                <a:lnTo>
                  <a:pt x="1594855" y="1709547"/>
                </a:lnTo>
                <a:close/>
              </a:path>
              <a:path w="1669415" h="2319654">
                <a:moveTo>
                  <a:pt x="1633016" y="1163447"/>
                </a:moveTo>
                <a:lnTo>
                  <a:pt x="1518208" y="1163447"/>
                </a:lnTo>
                <a:lnTo>
                  <a:pt x="1531372" y="1176147"/>
                </a:lnTo>
                <a:lnTo>
                  <a:pt x="1543591" y="1176147"/>
                </a:lnTo>
                <a:lnTo>
                  <a:pt x="1554760" y="1188847"/>
                </a:lnTo>
                <a:lnTo>
                  <a:pt x="1564776" y="1201547"/>
                </a:lnTo>
                <a:lnTo>
                  <a:pt x="1573535" y="1214247"/>
                </a:lnTo>
                <a:lnTo>
                  <a:pt x="1580934" y="1214247"/>
                </a:lnTo>
                <a:lnTo>
                  <a:pt x="1586869" y="1226947"/>
                </a:lnTo>
                <a:lnTo>
                  <a:pt x="1591237" y="1239647"/>
                </a:lnTo>
                <a:lnTo>
                  <a:pt x="1593933" y="1265047"/>
                </a:lnTo>
                <a:lnTo>
                  <a:pt x="1594855" y="1277747"/>
                </a:lnTo>
                <a:lnTo>
                  <a:pt x="1594855" y="1785747"/>
                </a:lnTo>
                <a:lnTo>
                  <a:pt x="1663965" y="1785747"/>
                </a:lnTo>
                <a:lnTo>
                  <a:pt x="1666979" y="1760347"/>
                </a:lnTo>
                <a:lnTo>
                  <a:pt x="1669023" y="1709547"/>
                </a:lnTo>
                <a:lnTo>
                  <a:pt x="1669023" y="1277747"/>
                </a:lnTo>
                <a:lnTo>
                  <a:pt x="1666618" y="1239647"/>
                </a:lnTo>
                <a:lnTo>
                  <a:pt x="1654473" y="1201547"/>
                </a:lnTo>
                <a:lnTo>
                  <a:pt x="1641138" y="1176147"/>
                </a:lnTo>
                <a:lnTo>
                  <a:pt x="1633016" y="1163447"/>
                </a:lnTo>
                <a:close/>
              </a:path>
              <a:path w="1669415" h="2319654">
                <a:moveTo>
                  <a:pt x="333775" y="1099947"/>
                </a:moveTo>
                <a:lnTo>
                  <a:pt x="187607" y="1099947"/>
                </a:lnTo>
                <a:lnTo>
                  <a:pt x="208323" y="1112647"/>
                </a:lnTo>
                <a:lnTo>
                  <a:pt x="229931" y="1125347"/>
                </a:lnTo>
                <a:lnTo>
                  <a:pt x="252307" y="1138047"/>
                </a:lnTo>
                <a:lnTo>
                  <a:pt x="275325" y="1150747"/>
                </a:lnTo>
                <a:lnTo>
                  <a:pt x="298862" y="1163447"/>
                </a:lnTo>
                <a:lnTo>
                  <a:pt x="322792" y="1188847"/>
                </a:lnTo>
                <a:lnTo>
                  <a:pt x="346991" y="1201547"/>
                </a:lnTo>
                <a:lnTo>
                  <a:pt x="419956" y="1277747"/>
                </a:lnTo>
                <a:lnTo>
                  <a:pt x="443985" y="1290447"/>
                </a:lnTo>
                <a:lnTo>
                  <a:pt x="467660" y="1315847"/>
                </a:lnTo>
                <a:lnTo>
                  <a:pt x="490857" y="1341247"/>
                </a:lnTo>
                <a:lnTo>
                  <a:pt x="513450" y="1366647"/>
                </a:lnTo>
                <a:lnTo>
                  <a:pt x="513475" y="1188847"/>
                </a:lnTo>
                <a:lnTo>
                  <a:pt x="441822" y="1188847"/>
                </a:lnTo>
                <a:lnTo>
                  <a:pt x="420590" y="1176147"/>
                </a:lnTo>
                <a:lnTo>
                  <a:pt x="399108" y="1150747"/>
                </a:lnTo>
                <a:lnTo>
                  <a:pt x="377437" y="1138047"/>
                </a:lnTo>
                <a:lnTo>
                  <a:pt x="355636" y="1112647"/>
                </a:lnTo>
                <a:lnTo>
                  <a:pt x="333775" y="1099947"/>
                </a:lnTo>
                <a:close/>
              </a:path>
              <a:path w="1669415" h="2319654">
                <a:moveTo>
                  <a:pt x="767810" y="439547"/>
                </a:moveTo>
                <a:lnTo>
                  <a:pt x="653260" y="439547"/>
                </a:lnTo>
                <a:lnTo>
                  <a:pt x="666406" y="452247"/>
                </a:lnTo>
                <a:lnTo>
                  <a:pt x="678664" y="452247"/>
                </a:lnTo>
                <a:lnTo>
                  <a:pt x="689917" y="464947"/>
                </a:lnTo>
                <a:lnTo>
                  <a:pt x="700049" y="477647"/>
                </a:lnTo>
                <a:lnTo>
                  <a:pt x="708943" y="490347"/>
                </a:lnTo>
                <a:lnTo>
                  <a:pt x="716481" y="490347"/>
                </a:lnTo>
                <a:lnTo>
                  <a:pt x="722547" y="503047"/>
                </a:lnTo>
                <a:lnTo>
                  <a:pt x="727025" y="515747"/>
                </a:lnTo>
                <a:lnTo>
                  <a:pt x="729797" y="541147"/>
                </a:lnTo>
                <a:lnTo>
                  <a:pt x="730747" y="553847"/>
                </a:lnTo>
                <a:lnTo>
                  <a:pt x="730747" y="1315847"/>
                </a:lnTo>
                <a:lnTo>
                  <a:pt x="802248" y="1315847"/>
                </a:lnTo>
                <a:lnTo>
                  <a:pt x="802256" y="1049147"/>
                </a:lnTo>
                <a:lnTo>
                  <a:pt x="811160" y="1011047"/>
                </a:lnTo>
                <a:lnTo>
                  <a:pt x="825368" y="985647"/>
                </a:lnTo>
                <a:lnTo>
                  <a:pt x="834579" y="985647"/>
                </a:lnTo>
                <a:lnTo>
                  <a:pt x="845030" y="972947"/>
                </a:lnTo>
                <a:lnTo>
                  <a:pt x="856596" y="960247"/>
                </a:lnTo>
                <a:lnTo>
                  <a:pt x="869151" y="960247"/>
                </a:lnTo>
                <a:lnTo>
                  <a:pt x="882572" y="947547"/>
                </a:lnTo>
                <a:lnTo>
                  <a:pt x="1054833" y="947547"/>
                </a:lnTo>
                <a:lnTo>
                  <a:pt x="1046936" y="934847"/>
                </a:lnTo>
                <a:lnTo>
                  <a:pt x="1038254" y="934847"/>
                </a:lnTo>
                <a:lnTo>
                  <a:pt x="1028808" y="922147"/>
                </a:lnTo>
                <a:lnTo>
                  <a:pt x="1018620" y="909447"/>
                </a:lnTo>
                <a:lnTo>
                  <a:pt x="802248" y="909447"/>
                </a:lnTo>
                <a:lnTo>
                  <a:pt x="802248" y="553847"/>
                </a:lnTo>
                <a:lnTo>
                  <a:pt x="799927" y="515747"/>
                </a:lnTo>
                <a:lnTo>
                  <a:pt x="788268" y="477647"/>
                </a:lnTo>
                <a:lnTo>
                  <a:pt x="775537" y="452247"/>
                </a:lnTo>
                <a:lnTo>
                  <a:pt x="767810" y="439547"/>
                </a:lnTo>
                <a:close/>
              </a:path>
              <a:path w="1669415" h="2319654">
                <a:moveTo>
                  <a:pt x="1344804" y="1023747"/>
                </a:moveTo>
                <a:lnTo>
                  <a:pt x="1231021" y="1023747"/>
                </a:lnTo>
                <a:lnTo>
                  <a:pt x="1244168" y="1036447"/>
                </a:lnTo>
                <a:lnTo>
                  <a:pt x="1256425" y="1036447"/>
                </a:lnTo>
                <a:lnTo>
                  <a:pt x="1267674" y="1049147"/>
                </a:lnTo>
                <a:lnTo>
                  <a:pt x="1277801" y="1049147"/>
                </a:lnTo>
                <a:lnTo>
                  <a:pt x="1286688" y="1061847"/>
                </a:lnTo>
                <a:lnTo>
                  <a:pt x="1304753" y="1099947"/>
                </a:lnTo>
                <a:lnTo>
                  <a:pt x="1308470" y="1125347"/>
                </a:lnTo>
                <a:lnTo>
                  <a:pt x="1308470" y="1315847"/>
                </a:lnTo>
                <a:lnTo>
                  <a:pt x="1380098" y="1315847"/>
                </a:lnTo>
                <a:lnTo>
                  <a:pt x="1380155" y="1277747"/>
                </a:lnTo>
                <a:lnTo>
                  <a:pt x="1384757" y="1239647"/>
                </a:lnTo>
                <a:lnTo>
                  <a:pt x="1403942" y="1201547"/>
                </a:lnTo>
                <a:lnTo>
                  <a:pt x="1413139" y="1201547"/>
                </a:lnTo>
                <a:lnTo>
                  <a:pt x="1423540" y="1188847"/>
                </a:lnTo>
                <a:lnTo>
                  <a:pt x="1435026" y="1176147"/>
                </a:lnTo>
                <a:lnTo>
                  <a:pt x="1447479" y="1176147"/>
                </a:lnTo>
                <a:lnTo>
                  <a:pt x="1460781" y="1163447"/>
                </a:lnTo>
                <a:lnTo>
                  <a:pt x="1623976" y="1163447"/>
                </a:lnTo>
                <a:lnTo>
                  <a:pt x="1614056" y="1150747"/>
                </a:lnTo>
                <a:lnTo>
                  <a:pt x="1603295" y="1138047"/>
                </a:lnTo>
                <a:lnTo>
                  <a:pt x="1591733" y="1125347"/>
                </a:lnTo>
                <a:lnTo>
                  <a:pt x="1380098" y="1125347"/>
                </a:lnTo>
                <a:lnTo>
                  <a:pt x="1379493" y="1112647"/>
                </a:lnTo>
                <a:lnTo>
                  <a:pt x="1370779" y="1074547"/>
                </a:lnTo>
                <a:lnTo>
                  <a:pt x="1352697" y="1036447"/>
                </a:lnTo>
                <a:lnTo>
                  <a:pt x="1344804" y="1023747"/>
                </a:lnTo>
                <a:close/>
              </a:path>
              <a:path w="1669415" h="2319654">
                <a:moveTo>
                  <a:pt x="1054833" y="947547"/>
                </a:moveTo>
                <a:lnTo>
                  <a:pt x="940515" y="947547"/>
                </a:lnTo>
                <a:lnTo>
                  <a:pt x="953907" y="960247"/>
                </a:lnTo>
                <a:lnTo>
                  <a:pt x="966400" y="960247"/>
                </a:lnTo>
                <a:lnTo>
                  <a:pt x="977874" y="972947"/>
                </a:lnTo>
                <a:lnTo>
                  <a:pt x="988208" y="985647"/>
                </a:lnTo>
                <a:lnTo>
                  <a:pt x="997282" y="985647"/>
                </a:lnTo>
                <a:lnTo>
                  <a:pt x="1004976" y="998347"/>
                </a:lnTo>
                <a:lnTo>
                  <a:pt x="1011170" y="1011047"/>
                </a:lnTo>
                <a:lnTo>
                  <a:pt x="1015743" y="1023747"/>
                </a:lnTo>
                <a:lnTo>
                  <a:pt x="1018575" y="1036447"/>
                </a:lnTo>
                <a:lnTo>
                  <a:pt x="1019545" y="1061847"/>
                </a:lnTo>
                <a:lnTo>
                  <a:pt x="1019545" y="1239647"/>
                </a:lnTo>
                <a:lnTo>
                  <a:pt x="1091173" y="1239647"/>
                </a:lnTo>
                <a:lnTo>
                  <a:pt x="1091288" y="1125347"/>
                </a:lnTo>
                <a:lnTo>
                  <a:pt x="1101212" y="1087247"/>
                </a:lnTo>
                <a:lnTo>
                  <a:pt x="1125041" y="1049147"/>
                </a:lnTo>
                <a:lnTo>
                  <a:pt x="1135561" y="1036447"/>
                </a:lnTo>
                <a:lnTo>
                  <a:pt x="1147184" y="1036447"/>
                </a:lnTo>
                <a:lnTo>
                  <a:pt x="1159802" y="1023747"/>
                </a:lnTo>
                <a:lnTo>
                  <a:pt x="1344804" y="1023747"/>
                </a:lnTo>
                <a:lnTo>
                  <a:pt x="1336056" y="1011047"/>
                </a:lnTo>
                <a:lnTo>
                  <a:pt x="1326499" y="998347"/>
                </a:lnTo>
                <a:lnTo>
                  <a:pt x="1078127" y="998347"/>
                </a:lnTo>
                <a:lnTo>
                  <a:pt x="1073591" y="985647"/>
                </a:lnTo>
                <a:lnTo>
                  <a:pt x="1068182" y="972947"/>
                </a:lnTo>
                <a:lnTo>
                  <a:pt x="1061922" y="960247"/>
                </a:lnTo>
                <a:lnTo>
                  <a:pt x="1054833" y="947547"/>
                </a:lnTo>
                <a:close/>
              </a:path>
              <a:path w="1669415" h="2319654">
                <a:moveTo>
                  <a:pt x="759232" y="426847"/>
                </a:moveTo>
                <a:lnTo>
                  <a:pt x="484607" y="426847"/>
                </a:lnTo>
                <a:lnTo>
                  <a:pt x="476098" y="439547"/>
                </a:lnTo>
                <a:lnTo>
                  <a:pt x="455763" y="477647"/>
                </a:lnTo>
                <a:lnTo>
                  <a:pt x="444141" y="515747"/>
                </a:lnTo>
                <a:lnTo>
                  <a:pt x="441822" y="553847"/>
                </a:lnTo>
                <a:lnTo>
                  <a:pt x="441822" y="1188847"/>
                </a:lnTo>
                <a:lnTo>
                  <a:pt x="513475" y="1188847"/>
                </a:lnTo>
                <a:lnTo>
                  <a:pt x="513564" y="541147"/>
                </a:lnTo>
                <a:lnTo>
                  <a:pt x="515138" y="528447"/>
                </a:lnTo>
                <a:lnTo>
                  <a:pt x="529997" y="490347"/>
                </a:lnTo>
                <a:lnTo>
                  <a:pt x="547260" y="464947"/>
                </a:lnTo>
                <a:lnTo>
                  <a:pt x="557773" y="464947"/>
                </a:lnTo>
                <a:lnTo>
                  <a:pt x="569393" y="452247"/>
                </a:lnTo>
                <a:lnTo>
                  <a:pt x="582012" y="452247"/>
                </a:lnTo>
                <a:lnTo>
                  <a:pt x="595521" y="439547"/>
                </a:lnTo>
                <a:lnTo>
                  <a:pt x="767810" y="439547"/>
                </a:lnTo>
                <a:lnTo>
                  <a:pt x="759232" y="426847"/>
                </a:lnTo>
                <a:close/>
              </a:path>
              <a:path w="1669415" h="2319654">
                <a:moveTo>
                  <a:pt x="1566358" y="1112647"/>
                </a:moveTo>
                <a:lnTo>
                  <a:pt x="1401491" y="1112647"/>
                </a:lnTo>
                <a:lnTo>
                  <a:pt x="1390599" y="1125347"/>
                </a:lnTo>
                <a:lnTo>
                  <a:pt x="1579408" y="1125347"/>
                </a:lnTo>
                <a:lnTo>
                  <a:pt x="1566358" y="1112647"/>
                </a:lnTo>
                <a:close/>
              </a:path>
              <a:path w="1669415" h="2319654">
                <a:moveTo>
                  <a:pt x="1538242" y="1099947"/>
                </a:moveTo>
                <a:lnTo>
                  <a:pt x="1436513" y="1099947"/>
                </a:lnTo>
                <a:lnTo>
                  <a:pt x="1424450" y="1112647"/>
                </a:lnTo>
                <a:lnTo>
                  <a:pt x="1552623" y="1112647"/>
                </a:lnTo>
                <a:lnTo>
                  <a:pt x="1538242" y="1099947"/>
                </a:lnTo>
                <a:close/>
              </a:path>
              <a:path w="1669415" h="2319654">
                <a:moveTo>
                  <a:pt x="183715" y="1023747"/>
                </a:moveTo>
                <a:lnTo>
                  <a:pt x="105612" y="1023747"/>
                </a:lnTo>
                <a:lnTo>
                  <a:pt x="87550" y="1036447"/>
                </a:lnTo>
                <a:lnTo>
                  <a:pt x="204407" y="1036447"/>
                </a:lnTo>
                <a:lnTo>
                  <a:pt x="183715" y="1023747"/>
                </a:lnTo>
                <a:close/>
              </a:path>
              <a:path w="1669415" h="2319654">
                <a:moveTo>
                  <a:pt x="1293440" y="972947"/>
                </a:moveTo>
                <a:lnTo>
                  <a:pt x="1098786" y="972947"/>
                </a:lnTo>
                <a:lnTo>
                  <a:pt x="1088247" y="985647"/>
                </a:lnTo>
                <a:lnTo>
                  <a:pt x="1078127" y="998347"/>
                </a:lnTo>
                <a:lnTo>
                  <a:pt x="1326499" y="998347"/>
                </a:lnTo>
                <a:lnTo>
                  <a:pt x="1316180" y="985647"/>
                </a:lnTo>
                <a:lnTo>
                  <a:pt x="1305145" y="985647"/>
                </a:lnTo>
                <a:lnTo>
                  <a:pt x="1293440" y="972947"/>
                </a:lnTo>
                <a:close/>
              </a:path>
              <a:path w="1669415" h="2319654">
                <a:moveTo>
                  <a:pt x="1268209" y="960247"/>
                </a:moveTo>
                <a:lnTo>
                  <a:pt x="1121070" y="960247"/>
                </a:lnTo>
                <a:lnTo>
                  <a:pt x="1109731" y="972947"/>
                </a:lnTo>
                <a:lnTo>
                  <a:pt x="1281113" y="972947"/>
                </a:lnTo>
                <a:lnTo>
                  <a:pt x="1268209" y="960247"/>
                </a:lnTo>
                <a:close/>
              </a:path>
              <a:path w="1669415" h="2319654">
                <a:moveTo>
                  <a:pt x="1226502" y="947547"/>
                </a:moveTo>
                <a:lnTo>
                  <a:pt x="1157323" y="947547"/>
                </a:lnTo>
                <a:lnTo>
                  <a:pt x="1144879" y="960247"/>
                </a:lnTo>
                <a:lnTo>
                  <a:pt x="1240857" y="960247"/>
                </a:lnTo>
                <a:lnTo>
                  <a:pt x="1226502" y="947547"/>
                </a:lnTo>
                <a:close/>
              </a:path>
              <a:path w="1669415" h="2319654">
                <a:moveTo>
                  <a:pt x="996106" y="896747"/>
                </a:moveTo>
                <a:lnTo>
                  <a:pt x="823678" y="896747"/>
                </a:lnTo>
                <a:lnTo>
                  <a:pt x="812772" y="909447"/>
                </a:lnTo>
                <a:lnTo>
                  <a:pt x="1007712" y="909447"/>
                </a:lnTo>
                <a:lnTo>
                  <a:pt x="996106" y="896747"/>
                </a:lnTo>
                <a:close/>
              </a:path>
              <a:path w="1669415" h="2319654">
                <a:moveTo>
                  <a:pt x="970887" y="884047"/>
                </a:moveTo>
                <a:lnTo>
                  <a:pt x="846638" y="884047"/>
                </a:lnTo>
                <a:lnTo>
                  <a:pt x="834967" y="896747"/>
                </a:lnTo>
                <a:lnTo>
                  <a:pt x="983824" y="896747"/>
                </a:lnTo>
                <a:lnTo>
                  <a:pt x="970887" y="884047"/>
                </a:lnTo>
                <a:close/>
              </a:path>
              <a:path w="1669415" h="2319654">
                <a:moveTo>
                  <a:pt x="897151" y="871347"/>
                </a:moveTo>
                <a:lnTo>
                  <a:pt x="883949" y="884047"/>
                </a:lnTo>
                <a:lnTo>
                  <a:pt x="913033" y="884047"/>
                </a:lnTo>
                <a:lnTo>
                  <a:pt x="897151" y="871347"/>
                </a:lnTo>
                <a:close/>
              </a:path>
              <a:path w="1669415" h="2319654">
                <a:moveTo>
                  <a:pt x="331840" y="617347"/>
                </a:moveTo>
                <a:lnTo>
                  <a:pt x="50662" y="680847"/>
                </a:lnTo>
                <a:lnTo>
                  <a:pt x="68569" y="757047"/>
                </a:lnTo>
                <a:lnTo>
                  <a:pt x="349747" y="680847"/>
                </a:lnTo>
                <a:lnTo>
                  <a:pt x="331840" y="617347"/>
                </a:lnTo>
                <a:close/>
              </a:path>
              <a:path w="1669415" h="2319654">
                <a:moveTo>
                  <a:pt x="912230" y="617347"/>
                </a:moveTo>
                <a:lnTo>
                  <a:pt x="894323" y="680847"/>
                </a:lnTo>
                <a:lnTo>
                  <a:pt x="1175501" y="757047"/>
                </a:lnTo>
                <a:lnTo>
                  <a:pt x="1193408" y="680847"/>
                </a:lnTo>
                <a:lnTo>
                  <a:pt x="912230" y="617347"/>
                </a:lnTo>
                <a:close/>
              </a:path>
              <a:path w="1669415" h="2319654">
                <a:moveTo>
                  <a:pt x="196331" y="198247"/>
                </a:moveTo>
                <a:lnTo>
                  <a:pt x="150357" y="249047"/>
                </a:lnTo>
                <a:lnTo>
                  <a:pt x="375274" y="426847"/>
                </a:lnTo>
                <a:lnTo>
                  <a:pt x="421375" y="376047"/>
                </a:lnTo>
                <a:lnTo>
                  <a:pt x="196331" y="198247"/>
                </a:lnTo>
                <a:close/>
              </a:path>
              <a:path w="1669415" h="2319654">
                <a:moveTo>
                  <a:pt x="728813" y="401447"/>
                </a:moveTo>
                <a:lnTo>
                  <a:pt x="514709" y="401447"/>
                </a:lnTo>
                <a:lnTo>
                  <a:pt x="503957" y="414147"/>
                </a:lnTo>
                <a:lnTo>
                  <a:pt x="493908" y="426847"/>
                </a:lnTo>
                <a:lnTo>
                  <a:pt x="749845" y="426847"/>
                </a:lnTo>
                <a:lnTo>
                  <a:pt x="739691" y="414147"/>
                </a:lnTo>
                <a:lnTo>
                  <a:pt x="728813" y="401447"/>
                </a:lnTo>
                <a:close/>
              </a:path>
              <a:path w="1669415" h="2319654">
                <a:moveTo>
                  <a:pt x="1047739" y="198247"/>
                </a:moveTo>
                <a:lnTo>
                  <a:pt x="822695" y="376047"/>
                </a:lnTo>
                <a:lnTo>
                  <a:pt x="868796" y="426847"/>
                </a:lnTo>
                <a:lnTo>
                  <a:pt x="1093713" y="249047"/>
                </a:lnTo>
                <a:lnTo>
                  <a:pt x="1047739" y="198247"/>
                </a:lnTo>
                <a:close/>
              </a:path>
              <a:path w="1669415" h="2319654">
                <a:moveTo>
                  <a:pt x="705051" y="388747"/>
                </a:moveTo>
                <a:lnTo>
                  <a:pt x="538148" y="388747"/>
                </a:lnTo>
                <a:lnTo>
                  <a:pt x="526121" y="401447"/>
                </a:lnTo>
                <a:lnTo>
                  <a:pt x="717252" y="401447"/>
                </a:lnTo>
                <a:lnTo>
                  <a:pt x="705051" y="388747"/>
                </a:lnTo>
                <a:close/>
              </a:path>
              <a:path w="1669415" h="2319654">
                <a:moveTo>
                  <a:pt x="678898" y="376047"/>
                </a:moveTo>
                <a:lnTo>
                  <a:pt x="563872" y="376047"/>
                </a:lnTo>
                <a:lnTo>
                  <a:pt x="550747" y="388747"/>
                </a:lnTo>
                <a:lnTo>
                  <a:pt x="692252" y="388747"/>
                </a:lnTo>
                <a:lnTo>
                  <a:pt x="678898" y="376047"/>
                </a:lnTo>
                <a:close/>
              </a:path>
              <a:path w="1669415" h="2319654">
                <a:moveTo>
                  <a:pt x="635921" y="363347"/>
                </a:moveTo>
                <a:lnTo>
                  <a:pt x="605972" y="363347"/>
                </a:lnTo>
                <a:lnTo>
                  <a:pt x="591529" y="376047"/>
                </a:lnTo>
                <a:lnTo>
                  <a:pt x="650690" y="376047"/>
                </a:lnTo>
                <a:lnTo>
                  <a:pt x="635921" y="363347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新細明體" pitchFamily="18" charset="-120"/>
              <a:cs typeface="+mn-cs"/>
            </a:endParaRPr>
          </a:p>
        </p:txBody>
      </p:sp>
      <p:sp>
        <p:nvSpPr>
          <p:cNvPr id="8" name="Freeform 483"/>
          <p:cNvSpPr>
            <a:spLocks noChangeAspect="1"/>
          </p:cNvSpPr>
          <p:nvPr/>
        </p:nvSpPr>
        <p:spPr>
          <a:xfrm>
            <a:off x="911424" y="2708920"/>
            <a:ext cx="1620000" cy="1156807"/>
          </a:xfrm>
          <a:custGeom>
            <a:avLst/>
            <a:gdLst/>
            <a:ahLst/>
            <a:cxnLst/>
            <a:rect l="l" t="t" r="r" b="b"/>
            <a:pathLst>
              <a:path w="504824" h="360589">
                <a:moveTo>
                  <a:pt x="252412" y="0"/>
                </a:moveTo>
                <a:cubicBezTo>
                  <a:pt x="336737" y="0"/>
                  <a:pt x="399746" y="2348"/>
                  <a:pt x="441440" y="7043"/>
                </a:cubicBezTo>
                <a:cubicBezTo>
                  <a:pt x="454774" y="8545"/>
                  <a:pt x="466465" y="13992"/>
                  <a:pt x="476512" y="23382"/>
                </a:cubicBezTo>
                <a:cubicBezTo>
                  <a:pt x="486561" y="32772"/>
                  <a:pt x="493086" y="44322"/>
                  <a:pt x="496091" y="58032"/>
                </a:cubicBezTo>
                <a:cubicBezTo>
                  <a:pt x="498720" y="70240"/>
                  <a:pt x="500739" y="84090"/>
                  <a:pt x="502147" y="99585"/>
                </a:cubicBezTo>
                <a:cubicBezTo>
                  <a:pt x="503556" y="115078"/>
                  <a:pt x="504354" y="127896"/>
                  <a:pt x="504542" y="138038"/>
                </a:cubicBezTo>
                <a:cubicBezTo>
                  <a:pt x="504730" y="148180"/>
                  <a:pt x="504824" y="162265"/>
                  <a:pt x="504824" y="180294"/>
                </a:cubicBezTo>
                <a:cubicBezTo>
                  <a:pt x="504824" y="198324"/>
                  <a:pt x="504730" y="212409"/>
                  <a:pt x="504542" y="222551"/>
                </a:cubicBezTo>
                <a:cubicBezTo>
                  <a:pt x="504354" y="232693"/>
                  <a:pt x="503556" y="245511"/>
                  <a:pt x="502147" y="261004"/>
                </a:cubicBezTo>
                <a:cubicBezTo>
                  <a:pt x="500739" y="276499"/>
                  <a:pt x="498626" y="290349"/>
                  <a:pt x="495809" y="302557"/>
                </a:cubicBezTo>
                <a:cubicBezTo>
                  <a:pt x="492805" y="316267"/>
                  <a:pt x="486325" y="327817"/>
                  <a:pt x="476371" y="337207"/>
                </a:cubicBezTo>
                <a:cubicBezTo>
                  <a:pt x="466418" y="346597"/>
                  <a:pt x="454774" y="352044"/>
                  <a:pt x="441440" y="353546"/>
                </a:cubicBezTo>
                <a:cubicBezTo>
                  <a:pt x="399746" y="358241"/>
                  <a:pt x="336737" y="360589"/>
                  <a:pt x="252412" y="360589"/>
                </a:cubicBezTo>
                <a:cubicBezTo>
                  <a:pt x="168087" y="360589"/>
                  <a:pt x="105078" y="358241"/>
                  <a:pt x="63384" y="353546"/>
                </a:cubicBezTo>
                <a:cubicBezTo>
                  <a:pt x="50050" y="352044"/>
                  <a:pt x="38359" y="346597"/>
                  <a:pt x="28311" y="337207"/>
                </a:cubicBezTo>
                <a:cubicBezTo>
                  <a:pt x="18264" y="327817"/>
                  <a:pt x="11737" y="316267"/>
                  <a:pt x="8733" y="302557"/>
                </a:cubicBezTo>
                <a:cubicBezTo>
                  <a:pt x="6103" y="290349"/>
                  <a:pt x="4084" y="276499"/>
                  <a:pt x="2676" y="261004"/>
                </a:cubicBezTo>
                <a:cubicBezTo>
                  <a:pt x="1267" y="245511"/>
                  <a:pt x="469" y="232693"/>
                  <a:pt x="281" y="222551"/>
                </a:cubicBezTo>
                <a:cubicBezTo>
                  <a:pt x="93" y="212409"/>
                  <a:pt x="0" y="198324"/>
                  <a:pt x="0" y="180294"/>
                </a:cubicBezTo>
                <a:cubicBezTo>
                  <a:pt x="0" y="162265"/>
                  <a:pt x="93" y="148180"/>
                  <a:pt x="281" y="138038"/>
                </a:cubicBezTo>
                <a:cubicBezTo>
                  <a:pt x="469" y="127896"/>
                  <a:pt x="1267" y="115078"/>
                  <a:pt x="2676" y="99585"/>
                </a:cubicBezTo>
                <a:cubicBezTo>
                  <a:pt x="4084" y="84090"/>
                  <a:pt x="6197" y="70240"/>
                  <a:pt x="9014" y="58032"/>
                </a:cubicBezTo>
                <a:cubicBezTo>
                  <a:pt x="12019" y="44322"/>
                  <a:pt x="18498" y="32772"/>
                  <a:pt x="28453" y="23382"/>
                </a:cubicBezTo>
                <a:cubicBezTo>
                  <a:pt x="38406" y="13992"/>
                  <a:pt x="50050" y="8545"/>
                  <a:pt x="63384" y="7043"/>
                </a:cubicBezTo>
                <a:cubicBezTo>
                  <a:pt x="105078" y="2348"/>
                  <a:pt x="168087" y="0"/>
                  <a:pt x="252412" y="0"/>
                </a:cubicBezTo>
                <a:close/>
                <a:moveTo>
                  <a:pt x="198958" y="71977"/>
                </a:moveTo>
                <a:cubicBezTo>
                  <a:pt x="195906" y="71883"/>
                  <a:pt x="192783" y="72681"/>
                  <a:pt x="189591" y="74371"/>
                </a:cubicBezTo>
                <a:cubicBezTo>
                  <a:pt x="183393" y="77752"/>
                  <a:pt x="180294" y="83011"/>
                  <a:pt x="180294" y="90147"/>
                </a:cubicBezTo>
                <a:lnTo>
                  <a:pt x="180294" y="270442"/>
                </a:lnTo>
                <a:cubicBezTo>
                  <a:pt x="180294" y="277578"/>
                  <a:pt x="183393" y="282837"/>
                  <a:pt x="189591" y="286218"/>
                </a:cubicBezTo>
                <a:cubicBezTo>
                  <a:pt x="192595" y="287720"/>
                  <a:pt x="195507" y="288471"/>
                  <a:pt x="198324" y="288471"/>
                </a:cubicBezTo>
                <a:cubicBezTo>
                  <a:pt x="202080" y="288471"/>
                  <a:pt x="205273" y="287532"/>
                  <a:pt x="207902" y="285654"/>
                </a:cubicBezTo>
                <a:lnTo>
                  <a:pt x="352137" y="195507"/>
                </a:lnTo>
                <a:cubicBezTo>
                  <a:pt x="357771" y="192314"/>
                  <a:pt x="360588" y="187243"/>
                  <a:pt x="360588" y="180294"/>
                </a:cubicBezTo>
                <a:cubicBezTo>
                  <a:pt x="360588" y="173345"/>
                  <a:pt x="357771" y="168275"/>
                  <a:pt x="352137" y="165082"/>
                </a:cubicBezTo>
                <a:lnTo>
                  <a:pt x="207902" y="74935"/>
                </a:lnTo>
                <a:cubicBezTo>
                  <a:pt x="204991" y="73057"/>
                  <a:pt x="202009" y="72071"/>
                  <a:pt x="198958" y="71977"/>
                </a:cubicBezTo>
                <a:close/>
              </a:path>
            </a:pathLst>
          </a:cu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5549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zh-TW" dirty="0"/>
              <a:t>實驗工具</a:t>
            </a:r>
            <a:endParaRPr lang="zh-TW" altLang="en-US" dirty="0"/>
          </a:p>
        </p:txBody>
      </p:sp>
      <p:sp>
        <p:nvSpPr>
          <p:cNvPr id="6" name="手繪多邊形 5"/>
          <p:cNvSpPr/>
          <p:nvPr/>
        </p:nvSpPr>
        <p:spPr>
          <a:xfrm>
            <a:off x="1919536" y="2067161"/>
            <a:ext cx="7920000" cy="612000"/>
          </a:xfrm>
          <a:custGeom>
            <a:avLst/>
            <a:gdLst>
              <a:gd name="connsiteX0" fmla="*/ 0 w 8207375"/>
              <a:gd name="connsiteY0" fmla="*/ 0 h 749840"/>
              <a:gd name="connsiteX1" fmla="*/ 8207375 w 8207375"/>
              <a:gd name="connsiteY1" fmla="*/ 0 h 749840"/>
              <a:gd name="connsiteX2" fmla="*/ 8207375 w 8207375"/>
              <a:gd name="connsiteY2" fmla="*/ 749840 h 749840"/>
              <a:gd name="connsiteX3" fmla="*/ 0 w 8207375"/>
              <a:gd name="connsiteY3" fmla="*/ 749840 h 749840"/>
              <a:gd name="connsiteX4" fmla="*/ 0 w 8207375"/>
              <a:gd name="connsiteY4" fmla="*/ 0 h 749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07375" h="749840">
                <a:moveTo>
                  <a:pt x="0" y="0"/>
                </a:moveTo>
                <a:lnTo>
                  <a:pt x="8207375" y="0"/>
                </a:lnTo>
                <a:lnTo>
                  <a:pt x="8207375" y="749840"/>
                </a:lnTo>
                <a:lnTo>
                  <a:pt x="0" y="749840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0E457D"/>
            </a:solidFill>
          </a:ln>
        </p:spPr>
        <p:style>
          <a:lnRef idx="2">
            <a:scrgbClr r="0" g="0" b="0"/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36983" tIns="124968" rIns="636983" bIns="142240" numCol="1" spcCol="1270" anchor="t" anchorCtr="0">
            <a:noAutofit/>
          </a:bodyPr>
          <a:lstStyle/>
          <a:p>
            <a:pPr marL="228600" lvl="1" indent="-228600" algn="l" defTabSz="8890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Wiener Filter</a:t>
            </a:r>
            <a:r>
              <a:rPr lang="zh-TW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的</a:t>
            </a:r>
            <a:r>
              <a:rPr lang="en-US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m</a:t>
            </a:r>
            <a:r>
              <a:rPr lang="zh-TW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檔，丟入音檔以及其他參數</a:t>
            </a:r>
            <a:r>
              <a:rPr lang="zh-TW" altLang="en-US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即</a:t>
            </a:r>
            <a:r>
              <a:rPr lang="zh-TW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可消噪。</a:t>
            </a:r>
            <a:endPara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" name="手繪多邊形 6"/>
          <p:cNvSpPr/>
          <p:nvPr/>
        </p:nvSpPr>
        <p:spPr>
          <a:xfrm>
            <a:off x="839416" y="1611939"/>
            <a:ext cx="3672408" cy="540000"/>
          </a:xfrm>
          <a:custGeom>
            <a:avLst/>
            <a:gdLst>
              <a:gd name="connsiteX0" fmla="*/ 0 w 4649840"/>
              <a:gd name="connsiteY0" fmla="*/ 90632 h 543781"/>
              <a:gd name="connsiteX1" fmla="*/ 90632 w 4649840"/>
              <a:gd name="connsiteY1" fmla="*/ 0 h 543781"/>
              <a:gd name="connsiteX2" fmla="*/ 4559208 w 4649840"/>
              <a:gd name="connsiteY2" fmla="*/ 0 h 543781"/>
              <a:gd name="connsiteX3" fmla="*/ 4649840 w 4649840"/>
              <a:gd name="connsiteY3" fmla="*/ 90632 h 543781"/>
              <a:gd name="connsiteX4" fmla="*/ 4649840 w 4649840"/>
              <a:gd name="connsiteY4" fmla="*/ 453149 h 543781"/>
              <a:gd name="connsiteX5" fmla="*/ 4559208 w 4649840"/>
              <a:gd name="connsiteY5" fmla="*/ 543781 h 543781"/>
              <a:gd name="connsiteX6" fmla="*/ 90632 w 4649840"/>
              <a:gd name="connsiteY6" fmla="*/ 543781 h 543781"/>
              <a:gd name="connsiteX7" fmla="*/ 0 w 4649840"/>
              <a:gd name="connsiteY7" fmla="*/ 453149 h 543781"/>
              <a:gd name="connsiteX8" fmla="*/ 0 w 4649840"/>
              <a:gd name="connsiteY8" fmla="*/ 90632 h 543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49840" h="543781">
                <a:moveTo>
                  <a:pt x="0" y="90632"/>
                </a:moveTo>
                <a:cubicBezTo>
                  <a:pt x="0" y="40577"/>
                  <a:pt x="40577" y="0"/>
                  <a:pt x="90632" y="0"/>
                </a:cubicBezTo>
                <a:lnTo>
                  <a:pt x="4559208" y="0"/>
                </a:lnTo>
                <a:cubicBezTo>
                  <a:pt x="4609263" y="0"/>
                  <a:pt x="4649840" y="40577"/>
                  <a:pt x="4649840" y="90632"/>
                </a:cubicBezTo>
                <a:lnTo>
                  <a:pt x="4649840" y="453149"/>
                </a:lnTo>
                <a:cubicBezTo>
                  <a:pt x="4649840" y="503204"/>
                  <a:pt x="4609263" y="543781"/>
                  <a:pt x="4559208" y="543781"/>
                </a:cubicBezTo>
                <a:lnTo>
                  <a:pt x="90632" y="543781"/>
                </a:lnTo>
                <a:cubicBezTo>
                  <a:pt x="40577" y="543781"/>
                  <a:pt x="0" y="503204"/>
                  <a:pt x="0" y="453149"/>
                </a:cubicBezTo>
                <a:lnTo>
                  <a:pt x="0" y="90632"/>
                </a:lnTo>
                <a:close/>
              </a:path>
            </a:pathLst>
          </a:custGeom>
          <a:solidFill>
            <a:srgbClr val="0E457D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5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3698" tIns="26545" rIns="243698" bIns="26545" numCol="1" spcCol="1270" anchor="ctr" anchorCtr="0">
            <a:noAutofit/>
          </a:bodyPr>
          <a:lstStyle/>
          <a:p>
            <a:pPr lvl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wienerscalart96.m</a:t>
            </a:r>
            <a:endPara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8" name="手繪多邊形 7"/>
          <p:cNvSpPr/>
          <p:nvPr/>
        </p:nvSpPr>
        <p:spPr>
          <a:xfrm>
            <a:off x="1919536" y="3321056"/>
            <a:ext cx="7920000" cy="612000"/>
          </a:xfrm>
          <a:custGeom>
            <a:avLst/>
            <a:gdLst>
              <a:gd name="connsiteX0" fmla="*/ 0 w 8207375"/>
              <a:gd name="connsiteY0" fmla="*/ 0 h 748440"/>
              <a:gd name="connsiteX1" fmla="*/ 8207375 w 8207375"/>
              <a:gd name="connsiteY1" fmla="*/ 0 h 748440"/>
              <a:gd name="connsiteX2" fmla="*/ 8207375 w 8207375"/>
              <a:gd name="connsiteY2" fmla="*/ 748440 h 748440"/>
              <a:gd name="connsiteX3" fmla="*/ 0 w 8207375"/>
              <a:gd name="connsiteY3" fmla="*/ 748440 h 748440"/>
              <a:gd name="connsiteX4" fmla="*/ 0 w 8207375"/>
              <a:gd name="connsiteY4" fmla="*/ 0 h 748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07375" h="748440">
                <a:moveTo>
                  <a:pt x="0" y="0"/>
                </a:moveTo>
                <a:lnTo>
                  <a:pt x="8207375" y="0"/>
                </a:lnTo>
                <a:lnTo>
                  <a:pt x="8207375" y="748440"/>
                </a:lnTo>
                <a:lnTo>
                  <a:pt x="0" y="748440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94B6D2"/>
            </a:solidFill>
          </a:ln>
        </p:spPr>
        <p:style>
          <a:lnRef idx="2">
            <a:scrgbClr r="0" g="0" b="0"/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36983" tIns="124968" rIns="636983" bIns="142240" numCol="1" spcCol="1270" anchor="t" anchorCtr="0">
            <a:noAutofit/>
          </a:bodyPr>
          <a:lstStyle/>
          <a:p>
            <a:pPr marL="228600" lvl="1" indent="-228600" algn="l" defTabSz="8890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zh-TW" altLang="en-US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輸入乾淨語音與雜訊，產生混雜語音。</a:t>
            </a:r>
          </a:p>
        </p:txBody>
      </p:sp>
      <p:sp>
        <p:nvSpPr>
          <p:cNvPr id="9" name="手繪多邊形 8"/>
          <p:cNvSpPr/>
          <p:nvPr/>
        </p:nvSpPr>
        <p:spPr>
          <a:xfrm>
            <a:off x="839416" y="2849401"/>
            <a:ext cx="3672408" cy="540000"/>
          </a:xfrm>
          <a:custGeom>
            <a:avLst/>
            <a:gdLst>
              <a:gd name="connsiteX0" fmla="*/ 0 w 4748503"/>
              <a:gd name="connsiteY0" fmla="*/ 103627 h 621747"/>
              <a:gd name="connsiteX1" fmla="*/ 103627 w 4748503"/>
              <a:gd name="connsiteY1" fmla="*/ 0 h 621747"/>
              <a:gd name="connsiteX2" fmla="*/ 4644876 w 4748503"/>
              <a:gd name="connsiteY2" fmla="*/ 0 h 621747"/>
              <a:gd name="connsiteX3" fmla="*/ 4748503 w 4748503"/>
              <a:gd name="connsiteY3" fmla="*/ 103627 h 621747"/>
              <a:gd name="connsiteX4" fmla="*/ 4748503 w 4748503"/>
              <a:gd name="connsiteY4" fmla="*/ 518120 h 621747"/>
              <a:gd name="connsiteX5" fmla="*/ 4644876 w 4748503"/>
              <a:gd name="connsiteY5" fmla="*/ 621747 h 621747"/>
              <a:gd name="connsiteX6" fmla="*/ 103627 w 4748503"/>
              <a:gd name="connsiteY6" fmla="*/ 621747 h 621747"/>
              <a:gd name="connsiteX7" fmla="*/ 0 w 4748503"/>
              <a:gd name="connsiteY7" fmla="*/ 518120 h 621747"/>
              <a:gd name="connsiteX8" fmla="*/ 0 w 4748503"/>
              <a:gd name="connsiteY8" fmla="*/ 103627 h 62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48503" h="621747">
                <a:moveTo>
                  <a:pt x="0" y="103627"/>
                </a:moveTo>
                <a:cubicBezTo>
                  <a:pt x="0" y="46395"/>
                  <a:pt x="46395" y="0"/>
                  <a:pt x="103627" y="0"/>
                </a:cubicBezTo>
                <a:lnTo>
                  <a:pt x="4644876" y="0"/>
                </a:lnTo>
                <a:cubicBezTo>
                  <a:pt x="4702108" y="0"/>
                  <a:pt x="4748503" y="46395"/>
                  <a:pt x="4748503" y="103627"/>
                </a:cubicBezTo>
                <a:lnTo>
                  <a:pt x="4748503" y="518120"/>
                </a:lnTo>
                <a:cubicBezTo>
                  <a:pt x="4748503" y="575352"/>
                  <a:pt x="4702108" y="621747"/>
                  <a:pt x="4644876" y="621747"/>
                </a:cubicBezTo>
                <a:lnTo>
                  <a:pt x="103627" y="621747"/>
                </a:lnTo>
                <a:cubicBezTo>
                  <a:pt x="46395" y="621747"/>
                  <a:pt x="0" y="575352"/>
                  <a:pt x="0" y="518120"/>
                </a:cubicBezTo>
                <a:lnTo>
                  <a:pt x="0" y="103627"/>
                </a:lnTo>
                <a:close/>
              </a:path>
            </a:pathLst>
          </a:custGeom>
          <a:ln>
            <a:solidFill>
              <a:srgbClr val="94B6D2"/>
            </a:solidFill>
          </a:ln>
        </p:spPr>
        <p:style>
          <a:lnRef idx="2">
            <a:scrgbClr r="0" g="0" b="0"/>
          </a:lnRef>
          <a:fillRef idx="1">
            <a:schemeClr val="accent1">
              <a:shade val="50000"/>
              <a:hueOff val="64498"/>
              <a:satOff val="8709"/>
              <a:lumOff val="17243"/>
              <a:alphaOff val="0"/>
            </a:schemeClr>
          </a:fillRef>
          <a:effectRef idx="0">
            <a:schemeClr val="accent1">
              <a:shade val="50000"/>
              <a:hueOff val="64498"/>
              <a:satOff val="8709"/>
              <a:lumOff val="1724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7504" tIns="30351" rIns="247504" bIns="30351" numCol="1" spcCol="1270" anchor="ctr" anchorCtr="0">
            <a:noAutofit/>
          </a:bodyPr>
          <a:lstStyle/>
          <a:p>
            <a:pPr lvl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err="1">
                <a:latin typeface="微軟正黑體" panose="020B0604030504040204" pitchFamily="34" charset="-120"/>
                <a:ea typeface="微軟正黑體" panose="020B0604030504040204" pitchFamily="34" charset="-120"/>
              </a:rPr>
              <a:t>audio_SNR.m</a:t>
            </a:r>
            <a:endPara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" name="手繪多邊形 9"/>
          <p:cNvSpPr/>
          <p:nvPr/>
        </p:nvSpPr>
        <p:spPr>
          <a:xfrm>
            <a:off x="1919536" y="4627777"/>
            <a:ext cx="7920000" cy="612000"/>
          </a:xfrm>
          <a:custGeom>
            <a:avLst/>
            <a:gdLst>
              <a:gd name="connsiteX0" fmla="*/ 0 w 8207375"/>
              <a:gd name="connsiteY0" fmla="*/ 0 h 748440"/>
              <a:gd name="connsiteX1" fmla="*/ 8207375 w 8207375"/>
              <a:gd name="connsiteY1" fmla="*/ 0 h 748440"/>
              <a:gd name="connsiteX2" fmla="*/ 8207375 w 8207375"/>
              <a:gd name="connsiteY2" fmla="*/ 748440 h 748440"/>
              <a:gd name="connsiteX3" fmla="*/ 0 w 8207375"/>
              <a:gd name="connsiteY3" fmla="*/ 748440 h 748440"/>
              <a:gd name="connsiteX4" fmla="*/ 0 w 8207375"/>
              <a:gd name="connsiteY4" fmla="*/ 0 h 748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07375" h="748440">
                <a:moveTo>
                  <a:pt x="0" y="0"/>
                </a:moveTo>
                <a:lnTo>
                  <a:pt x="8207375" y="0"/>
                </a:lnTo>
                <a:lnTo>
                  <a:pt x="8207375" y="748440"/>
                </a:lnTo>
                <a:lnTo>
                  <a:pt x="0" y="748440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0E457D"/>
            </a:solidFill>
          </a:ln>
        </p:spPr>
        <p:style>
          <a:lnRef idx="2">
            <a:scrgbClr r="0" g="0" b="0"/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36983" tIns="124968" rIns="636983" bIns="142240" numCol="1" spcCol="1270" anchor="t" anchorCtr="0">
            <a:noAutofit/>
          </a:bodyPr>
          <a:lstStyle/>
          <a:p>
            <a:pPr marL="228600" lvl="1" indent="-228600" algn="l" defTabSz="8890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zh-TW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三種不同的</a:t>
            </a:r>
            <a:r>
              <a:rPr lang="zh-TW" altLang="en-US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雜訊 </a:t>
            </a:r>
            <a:r>
              <a:rPr lang="en-US" altLang="zh-TW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horn</a:t>
            </a:r>
            <a:r>
              <a:rPr lang="zh-TW" altLang="en-US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mouse and white noise)</a:t>
            </a:r>
            <a:endPara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" name="手繪多邊形 10"/>
          <p:cNvSpPr/>
          <p:nvPr/>
        </p:nvSpPr>
        <p:spPr>
          <a:xfrm>
            <a:off x="839416" y="4163429"/>
            <a:ext cx="3672408" cy="540000"/>
          </a:xfrm>
          <a:custGeom>
            <a:avLst/>
            <a:gdLst>
              <a:gd name="connsiteX0" fmla="*/ 0 w 4604670"/>
              <a:gd name="connsiteY0" fmla="*/ 92153 h 552908"/>
              <a:gd name="connsiteX1" fmla="*/ 92153 w 4604670"/>
              <a:gd name="connsiteY1" fmla="*/ 0 h 552908"/>
              <a:gd name="connsiteX2" fmla="*/ 4512517 w 4604670"/>
              <a:gd name="connsiteY2" fmla="*/ 0 h 552908"/>
              <a:gd name="connsiteX3" fmla="*/ 4604670 w 4604670"/>
              <a:gd name="connsiteY3" fmla="*/ 92153 h 552908"/>
              <a:gd name="connsiteX4" fmla="*/ 4604670 w 4604670"/>
              <a:gd name="connsiteY4" fmla="*/ 460755 h 552908"/>
              <a:gd name="connsiteX5" fmla="*/ 4512517 w 4604670"/>
              <a:gd name="connsiteY5" fmla="*/ 552908 h 552908"/>
              <a:gd name="connsiteX6" fmla="*/ 92153 w 4604670"/>
              <a:gd name="connsiteY6" fmla="*/ 552908 h 552908"/>
              <a:gd name="connsiteX7" fmla="*/ 0 w 4604670"/>
              <a:gd name="connsiteY7" fmla="*/ 460755 h 552908"/>
              <a:gd name="connsiteX8" fmla="*/ 0 w 4604670"/>
              <a:gd name="connsiteY8" fmla="*/ 92153 h 552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04670" h="552908">
                <a:moveTo>
                  <a:pt x="0" y="92153"/>
                </a:moveTo>
                <a:cubicBezTo>
                  <a:pt x="0" y="41258"/>
                  <a:pt x="41258" y="0"/>
                  <a:pt x="92153" y="0"/>
                </a:cubicBezTo>
                <a:lnTo>
                  <a:pt x="4512517" y="0"/>
                </a:lnTo>
                <a:cubicBezTo>
                  <a:pt x="4563412" y="0"/>
                  <a:pt x="4604670" y="41258"/>
                  <a:pt x="4604670" y="92153"/>
                </a:cubicBezTo>
                <a:lnTo>
                  <a:pt x="4604670" y="460755"/>
                </a:lnTo>
                <a:cubicBezTo>
                  <a:pt x="4604670" y="511650"/>
                  <a:pt x="4563412" y="552908"/>
                  <a:pt x="4512517" y="552908"/>
                </a:cubicBezTo>
                <a:lnTo>
                  <a:pt x="92153" y="552908"/>
                </a:lnTo>
                <a:cubicBezTo>
                  <a:pt x="41258" y="552908"/>
                  <a:pt x="0" y="511650"/>
                  <a:pt x="0" y="460755"/>
                </a:cubicBezTo>
                <a:lnTo>
                  <a:pt x="0" y="92153"/>
                </a:lnTo>
                <a:close/>
              </a:path>
            </a:pathLst>
          </a:custGeom>
          <a:solidFill>
            <a:srgbClr val="0E457D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50000"/>
              <a:hueOff val="128996"/>
              <a:satOff val="17418"/>
              <a:lumOff val="3448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4144" tIns="26991" rIns="244144" bIns="26991" numCol="1" spcCol="1270" anchor="ctr" anchorCtr="0">
            <a:noAutofit/>
          </a:bodyPr>
          <a:lstStyle/>
          <a:p>
            <a:pPr lvl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noise.wav*3</a:t>
            </a:r>
            <a:endPara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2" name="手繪多邊形 11"/>
          <p:cNvSpPr/>
          <p:nvPr/>
        </p:nvSpPr>
        <p:spPr>
          <a:xfrm>
            <a:off x="1919536" y="5913344"/>
            <a:ext cx="7920000" cy="612000"/>
          </a:xfrm>
          <a:custGeom>
            <a:avLst/>
            <a:gdLst>
              <a:gd name="connsiteX0" fmla="*/ 0 w 8207375"/>
              <a:gd name="connsiteY0" fmla="*/ 0 h 680400"/>
              <a:gd name="connsiteX1" fmla="*/ 8207375 w 8207375"/>
              <a:gd name="connsiteY1" fmla="*/ 0 h 680400"/>
              <a:gd name="connsiteX2" fmla="*/ 8207375 w 8207375"/>
              <a:gd name="connsiteY2" fmla="*/ 680400 h 680400"/>
              <a:gd name="connsiteX3" fmla="*/ 0 w 8207375"/>
              <a:gd name="connsiteY3" fmla="*/ 680400 h 680400"/>
              <a:gd name="connsiteX4" fmla="*/ 0 w 8207375"/>
              <a:gd name="connsiteY4" fmla="*/ 0 h 68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07375" h="680400">
                <a:moveTo>
                  <a:pt x="0" y="0"/>
                </a:moveTo>
                <a:lnTo>
                  <a:pt x="8207375" y="0"/>
                </a:lnTo>
                <a:lnTo>
                  <a:pt x="8207375" y="680400"/>
                </a:lnTo>
                <a:lnTo>
                  <a:pt x="0" y="680400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94B6D2"/>
            </a:solidFill>
          </a:ln>
        </p:spPr>
        <p:style>
          <a:lnRef idx="2">
            <a:scrgbClr r="0" g="0" b="0"/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36983" tIns="124968" rIns="636983" bIns="142240" numCol="1" spcCol="1270" anchor="t" anchorCtr="0">
            <a:noAutofit/>
          </a:bodyPr>
          <a:lstStyle/>
          <a:p>
            <a:pPr marL="228600" lvl="1" indent="-228600" algn="l" defTabSz="8890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zh-TW" altLang="en-US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十句乾淨語音</a:t>
            </a:r>
          </a:p>
        </p:txBody>
      </p:sp>
      <p:sp>
        <p:nvSpPr>
          <p:cNvPr id="13" name="手繪多邊形 12"/>
          <p:cNvSpPr/>
          <p:nvPr/>
        </p:nvSpPr>
        <p:spPr>
          <a:xfrm>
            <a:off x="839416" y="5408617"/>
            <a:ext cx="3672408" cy="540000"/>
          </a:xfrm>
          <a:custGeom>
            <a:avLst/>
            <a:gdLst>
              <a:gd name="connsiteX0" fmla="*/ 0 w 4597094"/>
              <a:gd name="connsiteY0" fmla="*/ 113948 h 683677"/>
              <a:gd name="connsiteX1" fmla="*/ 113948 w 4597094"/>
              <a:gd name="connsiteY1" fmla="*/ 0 h 683677"/>
              <a:gd name="connsiteX2" fmla="*/ 4483146 w 4597094"/>
              <a:gd name="connsiteY2" fmla="*/ 0 h 683677"/>
              <a:gd name="connsiteX3" fmla="*/ 4597094 w 4597094"/>
              <a:gd name="connsiteY3" fmla="*/ 113948 h 683677"/>
              <a:gd name="connsiteX4" fmla="*/ 4597094 w 4597094"/>
              <a:gd name="connsiteY4" fmla="*/ 569729 h 683677"/>
              <a:gd name="connsiteX5" fmla="*/ 4483146 w 4597094"/>
              <a:gd name="connsiteY5" fmla="*/ 683677 h 683677"/>
              <a:gd name="connsiteX6" fmla="*/ 113948 w 4597094"/>
              <a:gd name="connsiteY6" fmla="*/ 683677 h 683677"/>
              <a:gd name="connsiteX7" fmla="*/ 0 w 4597094"/>
              <a:gd name="connsiteY7" fmla="*/ 569729 h 683677"/>
              <a:gd name="connsiteX8" fmla="*/ 0 w 4597094"/>
              <a:gd name="connsiteY8" fmla="*/ 113948 h 68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97094" h="683677">
                <a:moveTo>
                  <a:pt x="0" y="113948"/>
                </a:moveTo>
                <a:cubicBezTo>
                  <a:pt x="0" y="51016"/>
                  <a:pt x="51016" y="0"/>
                  <a:pt x="113948" y="0"/>
                </a:cubicBezTo>
                <a:lnTo>
                  <a:pt x="4483146" y="0"/>
                </a:lnTo>
                <a:cubicBezTo>
                  <a:pt x="4546078" y="0"/>
                  <a:pt x="4597094" y="51016"/>
                  <a:pt x="4597094" y="113948"/>
                </a:cubicBezTo>
                <a:lnTo>
                  <a:pt x="4597094" y="569729"/>
                </a:lnTo>
                <a:cubicBezTo>
                  <a:pt x="4597094" y="632661"/>
                  <a:pt x="4546078" y="683677"/>
                  <a:pt x="4483146" y="683677"/>
                </a:cubicBezTo>
                <a:lnTo>
                  <a:pt x="113948" y="683677"/>
                </a:lnTo>
                <a:cubicBezTo>
                  <a:pt x="51016" y="683677"/>
                  <a:pt x="0" y="632661"/>
                  <a:pt x="0" y="569729"/>
                </a:cubicBezTo>
                <a:lnTo>
                  <a:pt x="0" y="113948"/>
                </a:lnTo>
                <a:close/>
              </a:path>
            </a:pathLst>
          </a:custGeom>
          <a:ln>
            <a:solidFill>
              <a:srgbClr val="94B6D2"/>
            </a:solidFill>
          </a:ln>
        </p:spPr>
        <p:style>
          <a:lnRef idx="2">
            <a:scrgbClr r="0" g="0" b="0"/>
          </a:lnRef>
          <a:fillRef idx="1">
            <a:schemeClr val="accent1">
              <a:shade val="50000"/>
              <a:hueOff val="64498"/>
              <a:satOff val="8709"/>
              <a:lumOff val="17243"/>
              <a:alphaOff val="0"/>
            </a:schemeClr>
          </a:fillRef>
          <a:effectRef idx="0">
            <a:schemeClr val="accent1">
              <a:shade val="50000"/>
              <a:hueOff val="64498"/>
              <a:satOff val="8709"/>
              <a:lumOff val="1724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50527" tIns="33374" rIns="250527" bIns="33374" numCol="1" spcCol="1270" anchor="ctr" anchorCtr="0">
            <a:noAutofit/>
          </a:bodyPr>
          <a:lstStyle/>
          <a:p>
            <a:pPr lvl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lean speech.wav*10</a:t>
            </a:r>
            <a:endPara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5456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實驗工具</a:t>
            </a:r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1683251" y="1746242"/>
            <a:ext cx="769441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已提供</a:t>
            </a:r>
          </a:p>
        </p:txBody>
      </p:sp>
      <p:sp>
        <p:nvSpPr>
          <p:cNvPr id="6" name="Oval 77"/>
          <p:cNvSpPr>
            <a:spLocks noChangeArrowheads="1"/>
          </p:cNvSpPr>
          <p:nvPr/>
        </p:nvSpPr>
        <p:spPr bwMode="auto">
          <a:xfrm>
            <a:off x="1007630" y="175134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1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7" name="Freeform 359"/>
          <p:cNvSpPr>
            <a:spLocks noChangeAspect="1"/>
          </p:cNvSpPr>
          <p:nvPr/>
        </p:nvSpPr>
        <p:spPr>
          <a:xfrm>
            <a:off x="1487520" y="2336925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1956302" y="2329135"/>
            <a:ext cx="1025922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乾淨語音</a:t>
            </a:r>
          </a:p>
        </p:txBody>
      </p:sp>
      <p:sp>
        <p:nvSpPr>
          <p:cNvPr id="9" name="Freeform 359"/>
          <p:cNvSpPr>
            <a:spLocks noChangeAspect="1"/>
          </p:cNvSpPr>
          <p:nvPr/>
        </p:nvSpPr>
        <p:spPr>
          <a:xfrm>
            <a:off x="1487520" y="2862596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1956302" y="2856436"/>
            <a:ext cx="1331386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噪音</a:t>
            </a:r>
          </a:p>
        </p:txBody>
      </p:sp>
      <p:sp>
        <p:nvSpPr>
          <p:cNvPr id="11" name="Freeform 359"/>
          <p:cNvSpPr>
            <a:spLocks noChangeAspect="1"/>
          </p:cNvSpPr>
          <p:nvPr/>
        </p:nvSpPr>
        <p:spPr>
          <a:xfrm>
            <a:off x="1487520" y="3388267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1956302" y="3383737"/>
            <a:ext cx="158570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加入雜訊程式</a:t>
            </a:r>
          </a:p>
        </p:txBody>
      </p:sp>
      <p:sp>
        <p:nvSpPr>
          <p:cNvPr id="13" name="Freeform 359"/>
          <p:cNvSpPr>
            <a:spLocks noChangeAspect="1"/>
          </p:cNvSpPr>
          <p:nvPr/>
        </p:nvSpPr>
        <p:spPr>
          <a:xfrm>
            <a:off x="1487520" y="3913938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 Placeholder 3"/>
          <p:cNvSpPr txBox="1">
            <a:spLocks/>
          </p:cNvSpPr>
          <p:nvPr/>
        </p:nvSpPr>
        <p:spPr>
          <a:xfrm>
            <a:off x="1956302" y="3911037"/>
            <a:ext cx="158570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Wiener filter </a:t>
            </a: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1683251" y="4493672"/>
            <a:ext cx="1381789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參考</a:t>
            </a:r>
            <a:r>
              <a:rPr kumimoji="0"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word</a:t>
            </a:r>
            <a:r>
              <a:rPr kumimoji="0" lang="zh-TW" altLang="en-US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檔</a:t>
            </a:r>
          </a:p>
        </p:txBody>
      </p:sp>
      <p:sp>
        <p:nvSpPr>
          <p:cNvPr id="16" name="Oval 77"/>
          <p:cNvSpPr>
            <a:spLocks noChangeArrowheads="1"/>
          </p:cNvSpPr>
          <p:nvPr/>
        </p:nvSpPr>
        <p:spPr bwMode="auto">
          <a:xfrm>
            <a:off x="1007630" y="449877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2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539862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cs typeface="Times New Roman" panose="02020603050405020304" pitchFamily="18" charset="0"/>
              </a:rPr>
              <a:t>實驗一</a:t>
            </a:r>
            <a:r>
              <a:rPr lang="en-US" altLang="zh-TW" dirty="0">
                <a:cs typeface="Times New Roman" panose="02020603050405020304" pitchFamily="18" charset="0"/>
              </a:rPr>
              <a:t> (1/2)</a:t>
            </a:r>
            <a:endParaRPr lang="zh-TW" altLang="en-US" dirty="0"/>
          </a:p>
        </p:txBody>
      </p:sp>
      <p:sp>
        <p:nvSpPr>
          <p:cNvPr id="12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grpSp>
        <p:nvGrpSpPr>
          <p:cNvPr id="13" name="ïşļiďé">
            <a:extLst>
              <a:ext uri="{FF2B5EF4-FFF2-40B4-BE49-F238E27FC236}">
                <a16:creationId xmlns:a16="http://schemas.microsoft.com/office/drawing/2014/main" id="{D96EEB81-8803-4E6E-AA04-46CC3E4B2C91}"/>
              </a:ext>
            </a:extLst>
          </p:cNvPr>
          <p:cNvGrpSpPr/>
          <p:nvPr/>
        </p:nvGrpSpPr>
        <p:grpSpPr>
          <a:xfrm rot="16200000">
            <a:off x="4963681" y="-681211"/>
            <a:ext cx="1497570" cy="6095669"/>
            <a:chOff x="2978105" y="1981200"/>
            <a:chExt cx="1244302" cy="6095669"/>
          </a:xfrm>
        </p:grpSpPr>
        <p:sp>
          <p:nvSpPr>
            <p:cNvPr id="14" name="îSľíḓe">
              <a:extLst>
                <a:ext uri="{FF2B5EF4-FFF2-40B4-BE49-F238E27FC236}">
                  <a16:creationId xmlns:a16="http://schemas.microsoft.com/office/drawing/2014/main" id="{2BF11BA7-9964-4575-B527-5E5EB9C5F8A7}"/>
                </a:ext>
              </a:extLst>
            </p:cNvPr>
            <p:cNvSpPr/>
            <p:nvPr/>
          </p:nvSpPr>
          <p:spPr>
            <a:xfrm>
              <a:off x="2978105" y="2249049"/>
              <a:ext cx="1244302" cy="5827820"/>
            </a:xfrm>
            <a:prstGeom prst="roundRect">
              <a:avLst>
                <a:gd name="adj" fmla="val 3826"/>
              </a:avLst>
            </a:prstGeom>
            <a:pattFill prst="dkUpDiag">
              <a:fgClr>
                <a:srgbClr val="FFFFFF">
                  <a:lumMod val="95000"/>
                </a:srgbClr>
              </a:fgClr>
              <a:bgClr>
                <a:srgbClr val="FFFFFF"/>
              </a:bgClr>
            </a:pattFill>
            <a:ln w="3175" cap="flat" cmpd="sng" algn="ctr">
              <a:solidFill>
                <a:srgbClr val="FFFFFF">
                  <a:lumMod val="85000"/>
                </a:srgbClr>
              </a:solidFill>
              <a:prstDash val="solid"/>
              <a:miter lim="800000"/>
            </a:ln>
            <a:effectLst/>
          </p:spPr>
          <p:txBody>
            <a:bodyPr vert="eaVert" wrap="square" lIns="91440" tIns="45720" rIns="91440" bIns="45720" anchor="ctr">
              <a:noAutofit/>
            </a:bodyPr>
            <a:lstStyle/>
            <a:p>
              <a:pPr marL="447675" marR="0" lvl="0" indent="-179388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TW" altLang="en-US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練習音檔存取及播放、加入雜訊</a:t>
              </a:r>
            </a:p>
            <a:p>
              <a:pPr marL="447675" marR="0" lvl="0" indent="-179388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TW" altLang="en-US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參考講義→實驗步驟：步驟一、二</a:t>
              </a:r>
            </a:p>
            <a:p>
              <a:pPr marL="447675" marR="0" lvl="0" indent="-179388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TW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Hint</a:t>
              </a:r>
              <a:r>
                <a:rPr kumimoji="0" lang="zh-TW" altLang="en-US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：</a:t>
              </a:r>
              <a:r>
                <a:rPr kumimoji="0" lang="en-US" altLang="zh-TW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(1) </a:t>
              </a:r>
              <a:r>
                <a:rPr kumimoji="0" lang="zh-TW" altLang="en-US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訊雜比 </a:t>
              </a:r>
              <a:r>
                <a:rPr kumimoji="0" lang="en-US" altLang="zh-TW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= 5 (2) </a:t>
              </a:r>
              <a:r>
                <a:rPr kumimoji="0" lang="zh-TW" altLang="en-US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輸出時間 </a:t>
              </a:r>
              <a:r>
                <a:rPr kumimoji="0" lang="en-US" altLang="zh-TW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s = 10</a:t>
              </a:r>
              <a:r>
                <a:rPr kumimoji="0" lang="zh-TW" altLang="en-US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秒</a:t>
              </a:r>
            </a:p>
          </p:txBody>
        </p:sp>
        <p:sp>
          <p:nvSpPr>
            <p:cNvPr id="15" name="îṩḷiḓê">
              <a:extLst>
                <a:ext uri="{FF2B5EF4-FFF2-40B4-BE49-F238E27FC236}">
                  <a16:creationId xmlns:a16="http://schemas.microsoft.com/office/drawing/2014/main" id="{27FC8BF8-A3A4-4CC4-9D8A-BD45A4C41A45}"/>
                </a:ext>
              </a:extLst>
            </p:cNvPr>
            <p:cNvSpPr/>
            <p:nvPr/>
          </p:nvSpPr>
          <p:spPr>
            <a:xfrm>
              <a:off x="3213102" y="1981200"/>
              <a:ext cx="920885" cy="472564"/>
            </a:xfrm>
            <a:prstGeom prst="roundRect">
              <a:avLst>
                <a:gd name="adj" fmla="val 50000"/>
              </a:avLst>
            </a:prstGeom>
            <a:solidFill>
              <a:srgbClr val="12529F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vert="eaVert" wrap="square" lIns="91440" tIns="45720" rIns="91440" bIns="4572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2000" b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實驗一</a:t>
              </a:r>
              <a:endParaRPr kumimoji="0" sz="2000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sp>
        <p:nvSpPr>
          <p:cNvPr id="16" name="Text Placeholder 3"/>
          <p:cNvSpPr txBox="1">
            <a:spLocks/>
          </p:cNvSpPr>
          <p:nvPr/>
        </p:nvSpPr>
        <p:spPr>
          <a:xfrm>
            <a:off x="1683250" y="3265239"/>
            <a:ext cx="10461422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依照</a:t>
            </a:r>
            <a:r>
              <a:rPr kumimoji="0" lang="en-US" altLang="zh-TW" sz="2000" dirty="0" err="1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audio_SNR.m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旁的註解完成</a:t>
            </a:r>
            <a:r>
              <a:rPr kumimoji="0" lang="en-US" altLang="zh-TW" sz="2000" dirty="0" err="1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audio_SNR.m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使其成為能將乾淨語音與雜訊混合的程式。</a:t>
            </a:r>
          </a:p>
        </p:txBody>
      </p:sp>
      <p:sp>
        <p:nvSpPr>
          <p:cNvPr id="17" name="Oval 77"/>
          <p:cNvSpPr>
            <a:spLocks noChangeArrowheads="1"/>
          </p:cNvSpPr>
          <p:nvPr/>
        </p:nvSpPr>
        <p:spPr bwMode="auto">
          <a:xfrm>
            <a:off x="1007630" y="3259840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1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20" name="Freeform 359"/>
          <p:cNvSpPr>
            <a:spLocks noChangeAspect="1"/>
          </p:cNvSpPr>
          <p:nvPr/>
        </p:nvSpPr>
        <p:spPr>
          <a:xfrm>
            <a:off x="1487520" y="4629283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1956302" y="4633391"/>
            <a:ext cx="3203594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r>
              <a:rPr lang="zh-TW" altLang="en-US" sz="2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訊雜比：訊號和雜訊的比例</a:t>
            </a:r>
            <a:endParaRPr lang="en-US" altLang="zh-TW" sz="20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4" name="Text Placeholder 3"/>
          <p:cNvSpPr txBox="1">
            <a:spLocks/>
          </p:cNvSpPr>
          <p:nvPr/>
        </p:nvSpPr>
        <p:spPr>
          <a:xfrm>
            <a:off x="1683251" y="4026968"/>
            <a:ext cx="1033295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使用</a:t>
            </a:r>
            <a:r>
              <a:rPr kumimoji="0" lang="en-US" altLang="zh-TW" sz="2000" dirty="0" err="1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audio_SNR.m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加入已有的雜訊檔案，調整訊雜比以及設定輸出時間長短，單位為秒。</a:t>
            </a:r>
          </a:p>
        </p:txBody>
      </p:sp>
      <p:sp>
        <p:nvSpPr>
          <p:cNvPr id="25" name="Oval 77"/>
          <p:cNvSpPr>
            <a:spLocks noChangeArrowheads="1"/>
          </p:cNvSpPr>
          <p:nvPr/>
        </p:nvSpPr>
        <p:spPr bwMode="auto">
          <a:xfrm>
            <a:off x="1007630" y="402165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2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 Placeholder 3"/>
              <p:cNvSpPr txBox="1">
                <a:spLocks/>
              </p:cNvSpPr>
              <p:nvPr/>
            </p:nvSpPr>
            <p:spPr>
              <a:xfrm>
                <a:off x="5159896" y="4552858"/>
                <a:ext cx="2411506" cy="722762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>
                <a:lvl1pPr marL="0" indent="0" algn="ctr">
                  <a:buNone/>
                  <a:defRPr sz="14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</a:defRPr>
                </a:lvl1pPr>
                <a:lvl2pPr marL="457200" indent="0">
                  <a:buNone/>
                  <a:defRPr sz="1200"/>
                </a:lvl2pPr>
                <a:lvl3pPr marL="914400" indent="0">
                  <a:buNone/>
                  <a:defRPr sz="1000"/>
                </a:lvl3pPr>
                <a:lvl4pPr marL="1371600" indent="0">
                  <a:buNone/>
                  <a:defRPr sz="900"/>
                </a:lvl4pPr>
                <a:lvl5pPr marL="1828800" indent="0">
                  <a:buNone/>
                  <a:defRPr sz="900"/>
                </a:lvl5pPr>
                <a:lvl6pPr marL="2286000" indent="0">
                  <a:buNone/>
                  <a:defRPr sz="900"/>
                </a:lvl6pPr>
                <a:lvl7pPr marL="2743200" indent="0">
                  <a:buNone/>
                  <a:defRPr sz="900"/>
                </a:lvl7pPr>
                <a:lvl8pPr marL="3200400" indent="0">
                  <a:buNone/>
                  <a:defRPr sz="900"/>
                </a:lvl8pPr>
                <a:lvl9pPr marL="3657600" indent="0">
                  <a:buNone/>
                  <a:defRPr sz="900"/>
                </a:lvl9pPr>
              </a:lstStyle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zh-TW" altLang="zh-TW" sz="200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en-US" altLang="zh-TW" sz="200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0</m:t>
                          </m:r>
                        </m:fName>
                        <m:e>
                          <m:func>
                            <m:funcPr>
                              <m:ctrlPr>
                                <a:rPr lang="zh-TW" altLang="zh-TW" sz="2000" i="1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sSub>
                                <m:sSubPr>
                                  <m:ctrlPr>
                                    <a:rPr lang="zh-TW" altLang="zh-TW" sz="2000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TW" sz="2000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log</m:t>
                                  </m:r>
                                </m:e>
                                <m:sub>
                                  <m:r>
                                    <a:rPr lang="en-US" altLang="zh-TW" sz="2000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10</m:t>
                                  </m:r>
                                </m:sub>
                              </m:sSub>
                            </m:fName>
                            <m:e>
                              <m:f>
                                <m:fPr>
                                  <m:ctrlPr>
                                    <a:rPr lang="zh-TW" altLang="zh-TW" sz="2000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nary>
                                    <m:naryPr>
                                      <m:chr m:val="∑"/>
                                      <m:limLoc m:val="undOvr"/>
                                      <m:ctrlPr>
                                        <a:rPr lang="zh-TW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i</m:t>
                                      </m:r>
                                      <m: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m:rPr>
                                          <m:sty m:val="p"/>
                                        </m:rP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N</m:t>
                                      </m:r>
                                    </m:sup>
                                    <m:e>
                                      <m:sSup>
                                        <m:sSupPr>
                                          <m:ctrlPr>
                                            <a:rPr lang="zh-TW" altLang="zh-TW" sz="2000" i="1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TW" sz="2000" i="1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p>
                                          <m:r>
                                            <a:rPr lang="en-US" altLang="zh-TW" sz="2000" i="1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e>
                                  </m:nary>
                                  <m:r>
                                    <a:rPr lang="en-US" altLang="zh-TW" sz="2000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en-US" altLang="zh-TW" sz="2000" i="1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altLang="zh-TW" sz="2000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num>
                                <m:den>
                                  <m:nary>
                                    <m:naryPr>
                                      <m:chr m:val="∑"/>
                                      <m:limLoc m:val="undOvr"/>
                                      <m:ctrlPr>
                                        <a:rPr lang="zh-TW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en-US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m:rPr>
                                          <m:sty m:val="p"/>
                                        </m:rPr>
                                        <a:rPr lang="en-US" altLang="zh-TW" sz="2000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N</m:t>
                                      </m:r>
                                    </m:sup>
                                    <m:e>
                                      <m:sSup>
                                        <m:sSupPr>
                                          <m:ctrlPr>
                                            <a:rPr lang="zh-TW" altLang="zh-TW" sz="2000" i="1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TW" sz="2000" i="1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</m:t>
                                          </m:r>
                                        </m:e>
                                        <m:sup>
                                          <m:r>
                                            <a:rPr lang="en-US" altLang="zh-TW" sz="2000" i="1">
                                              <a:solidFill>
                                                <a:srgbClr val="0E457D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  <m:r>
                                        <a:rPr lang="en-US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lang="en-US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altLang="zh-TW" sz="2000" i="1">
                                          <a:solidFill>
                                            <a:srgbClr val="0E457D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</m:nary>
                                </m:den>
                              </m:f>
                            </m:e>
                          </m:func>
                        </m:e>
                      </m:func>
                    </m:oMath>
                  </m:oMathPara>
                </a14:m>
                <a:endParaRPr lang="en-US" altLang="zh-TW" sz="2000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26" name="Text Placeholder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9896" y="4552858"/>
                <a:ext cx="2411506" cy="72276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 Placeholder 3"/>
          <p:cNvSpPr txBox="1">
            <a:spLocks/>
          </p:cNvSpPr>
          <p:nvPr/>
        </p:nvSpPr>
        <p:spPr>
          <a:xfrm>
            <a:off x="7404230" y="5446577"/>
            <a:ext cx="4599694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r>
              <a:rPr lang="en-US" altLang="zh-TW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x</a:t>
            </a:r>
            <a:r>
              <a:rPr lang="zh-TW" altLang="en-US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為乾淨語音，</a:t>
            </a:r>
            <a:r>
              <a:rPr lang="en-US" altLang="zh-TW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D</a:t>
            </a:r>
            <a:r>
              <a:rPr lang="zh-TW" altLang="en-US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為雜訊，</a:t>
            </a:r>
            <a:r>
              <a:rPr lang="en-US" altLang="zh-TW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N</a:t>
            </a:r>
            <a:r>
              <a:rPr lang="zh-TW" altLang="en-US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為音訊長度</a:t>
            </a:r>
            <a:r>
              <a:rPr lang="en-US" altLang="zh-TW" sz="2000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</a:p>
        </p:txBody>
      </p:sp>
      <p:sp>
        <p:nvSpPr>
          <p:cNvPr id="22" name="Rectangle 3"/>
          <p:cNvSpPr txBox="1">
            <a:spLocks noChangeArrowheads="1"/>
          </p:cNvSpPr>
          <p:nvPr/>
        </p:nvSpPr>
        <p:spPr>
          <a:xfrm>
            <a:off x="1559496" y="5897041"/>
            <a:ext cx="10444428" cy="412279"/>
          </a:xfrm>
          <a:prstGeom prst="roundRect">
            <a:avLst>
              <a:gd name="adj" fmla="val 9581"/>
            </a:avLst>
          </a:prstGeom>
          <a:solidFill>
            <a:srgbClr val="E1F0FB"/>
          </a:solidFill>
        </p:spPr>
        <p:txBody>
          <a:bodyPr anchor="ctr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57" fontAlgn="auto">
              <a:spcBef>
                <a:spcPct val="20000"/>
              </a:spcBef>
              <a:spcAft>
                <a:spcPts val="0"/>
              </a:spcAft>
              <a:buNone/>
              <a:defRPr/>
            </a:pPr>
            <a:r>
              <a:rPr lang="en-US" altLang="zh-TW" sz="2000" dirty="0"/>
              <a:t>[</a:t>
            </a:r>
            <a:r>
              <a:rPr lang="en-US" altLang="zh-TW" sz="2000" dirty="0" err="1"/>
              <a:t>output,fs</a:t>
            </a:r>
            <a:r>
              <a:rPr lang="en-US" altLang="zh-TW" sz="2000" dirty="0"/>
              <a:t>]=</a:t>
            </a:r>
            <a:r>
              <a:rPr lang="en-US" altLang="zh-TW" sz="2000" dirty="0" err="1"/>
              <a:t>audio_SNR</a:t>
            </a:r>
            <a:r>
              <a:rPr lang="en-US" altLang="zh-TW" sz="2000" dirty="0"/>
              <a:t>('Clean </a:t>
            </a:r>
            <a:r>
              <a:rPr lang="zh-TW" altLang="en-US" sz="2000" dirty="0"/>
              <a:t>檔案名稱</a:t>
            </a:r>
            <a:r>
              <a:rPr lang="en-US" altLang="zh-TW" sz="2000" dirty="0"/>
              <a:t>.wav' , 'Noise </a:t>
            </a:r>
            <a:r>
              <a:rPr lang="zh-TW" altLang="en-US" sz="2000" dirty="0"/>
              <a:t>檔案名稱</a:t>
            </a:r>
            <a:r>
              <a:rPr lang="en-US" altLang="zh-TW" sz="2000" dirty="0"/>
              <a:t>.wav',</a:t>
            </a:r>
            <a:r>
              <a:rPr lang="zh-TW" altLang="en-US" sz="2000" dirty="0"/>
              <a:t>輸出時間</a:t>
            </a:r>
            <a:r>
              <a:rPr lang="en-US" altLang="zh-TW" sz="2000" dirty="0"/>
              <a:t>(s),</a:t>
            </a:r>
            <a:r>
              <a:rPr lang="zh-TW" altLang="en-US" sz="2000" dirty="0"/>
              <a:t>訊雜比</a:t>
            </a:r>
            <a:r>
              <a:rPr lang="en-US" altLang="zh-TW" sz="2000" dirty="0"/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10812632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cs typeface="Times New Roman" panose="02020603050405020304" pitchFamily="18" charset="0"/>
              </a:rPr>
              <a:t>實驗一</a:t>
            </a:r>
            <a:r>
              <a:rPr lang="en-US" altLang="zh-TW" dirty="0">
                <a:cs typeface="Times New Roman" panose="02020603050405020304" pitchFamily="18" charset="0"/>
              </a:rPr>
              <a:t> (2/2)</a:t>
            </a:r>
            <a:endParaRPr lang="zh-TW" altLang="en-US" dirty="0"/>
          </a:p>
        </p:txBody>
      </p:sp>
      <p:sp>
        <p:nvSpPr>
          <p:cNvPr id="12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30" name="Text Placeholder 3"/>
          <p:cNvSpPr txBox="1">
            <a:spLocks/>
          </p:cNvSpPr>
          <p:nvPr/>
        </p:nvSpPr>
        <p:spPr>
          <a:xfrm>
            <a:off x="1683250" y="3278126"/>
            <a:ext cx="8835752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使用指令</a:t>
            </a:r>
            <a:r>
              <a:rPr kumimoji="0" lang="en-US" altLang="zh-TW" sz="2000" dirty="0" err="1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wavread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、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ound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會得到語音訊號以及取樣頻率兩個變數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ignal, fs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。</a:t>
            </a:r>
          </a:p>
        </p:txBody>
      </p:sp>
      <p:sp>
        <p:nvSpPr>
          <p:cNvPr id="31" name="Oval 77"/>
          <p:cNvSpPr>
            <a:spLocks noChangeArrowheads="1"/>
          </p:cNvSpPr>
          <p:nvPr/>
        </p:nvSpPr>
        <p:spPr bwMode="auto">
          <a:xfrm>
            <a:off x="1007630" y="3281555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3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32" name="Rectangle 3"/>
          <p:cNvSpPr txBox="1">
            <a:spLocks noChangeArrowheads="1"/>
          </p:cNvSpPr>
          <p:nvPr/>
        </p:nvSpPr>
        <p:spPr>
          <a:xfrm>
            <a:off x="1559496" y="3785611"/>
            <a:ext cx="10444428" cy="936104"/>
          </a:xfrm>
          <a:prstGeom prst="roundRect">
            <a:avLst>
              <a:gd name="adj" fmla="val 9581"/>
            </a:avLst>
          </a:prstGeom>
          <a:solidFill>
            <a:srgbClr val="E1F0FB"/>
          </a:solidFill>
        </p:spPr>
        <p:txBody>
          <a:bodyPr anchor="ctr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57" fontAlgn="auto">
              <a:spcBef>
                <a:spcPct val="20000"/>
              </a:spcBef>
              <a:spcAft>
                <a:spcPts val="0"/>
              </a:spcAft>
              <a:buNone/>
              <a:defRPr/>
            </a:pPr>
            <a:r>
              <a:rPr lang="en-US" altLang="zh-TW" sz="2000" dirty="0"/>
              <a:t>[</a:t>
            </a:r>
            <a:r>
              <a:rPr lang="en-US" altLang="zh-TW" sz="2000" dirty="0" err="1"/>
              <a:t>signal,fs</a:t>
            </a:r>
            <a:r>
              <a:rPr lang="en-US" altLang="zh-TW" sz="2000" dirty="0"/>
              <a:t>]=</a:t>
            </a:r>
            <a:r>
              <a:rPr lang="en-US" altLang="zh-TW" sz="2000" dirty="0" err="1"/>
              <a:t>audioread</a:t>
            </a:r>
            <a:r>
              <a:rPr lang="en-US" altLang="zh-TW" sz="2000" dirty="0"/>
              <a:t>(‘</a:t>
            </a:r>
            <a:r>
              <a:rPr lang="zh-TW" altLang="zh-TW" sz="2000" dirty="0"/>
              <a:t>檔案名稱</a:t>
            </a:r>
            <a:r>
              <a:rPr lang="en-US" altLang="zh-TW" sz="2000" dirty="0"/>
              <a:t>.wav’); </a:t>
            </a:r>
            <a:r>
              <a:rPr lang="en-US" altLang="zh-TW" sz="2000" dirty="0">
                <a:solidFill>
                  <a:srgbClr val="CC4B4A"/>
                </a:solidFill>
              </a:rPr>
              <a:t>%</a:t>
            </a:r>
            <a:r>
              <a:rPr lang="zh-TW" altLang="zh-TW" sz="2000" dirty="0">
                <a:solidFill>
                  <a:srgbClr val="CC4B4A"/>
                </a:solidFill>
              </a:rPr>
              <a:t>讀入</a:t>
            </a:r>
            <a:r>
              <a:rPr lang="en-US" altLang="zh-TW" sz="2000" dirty="0">
                <a:solidFill>
                  <a:srgbClr val="CC4B4A"/>
                </a:solidFill>
              </a:rPr>
              <a:t>wav</a:t>
            </a:r>
            <a:r>
              <a:rPr lang="zh-TW" altLang="zh-TW" sz="2000" dirty="0">
                <a:solidFill>
                  <a:srgbClr val="CC4B4A"/>
                </a:solidFill>
              </a:rPr>
              <a:t>檔</a:t>
            </a:r>
            <a:r>
              <a:rPr lang="en-US" altLang="zh-TW" sz="2000" dirty="0">
                <a:solidFill>
                  <a:srgbClr val="CC4B4A"/>
                </a:solidFill>
              </a:rPr>
              <a:t> (</a:t>
            </a:r>
            <a:r>
              <a:rPr lang="zh-TW" altLang="zh-TW" sz="2000" dirty="0">
                <a:solidFill>
                  <a:srgbClr val="CC4B4A"/>
                </a:solidFill>
              </a:rPr>
              <a:t>切記</a:t>
            </a:r>
            <a:r>
              <a:rPr lang="en-US" altLang="zh-TW" sz="2000" dirty="0">
                <a:solidFill>
                  <a:srgbClr val="CC4B4A"/>
                </a:solidFill>
              </a:rPr>
              <a:t>wav</a:t>
            </a:r>
            <a:r>
              <a:rPr lang="zh-TW" altLang="zh-TW" sz="2000" dirty="0">
                <a:solidFill>
                  <a:srgbClr val="CC4B4A"/>
                </a:solidFill>
              </a:rPr>
              <a:t>檔</a:t>
            </a:r>
            <a:r>
              <a:rPr lang="zh-TW" altLang="en-US" sz="2000" dirty="0">
                <a:solidFill>
                  <a:srgbClr val="CC4B4A"/>
                </a:solidFill>
              </a:rPr>
              <a:t>與程式檔</a:t>
            </a:r>
            <a:r>
              <a:rPr lang="zh-TW" altLang="zh-TW" sz="2000" dirty="0">
                <a:solidFill>
                  <a:srgbClr val="CC4B4A"/>
                </a:solidFill>
              </a:rPr>
              <a:t>必須在同層目錄下</a:t>
            </a:r>
            <a:r>
              <a:rPr lang="en-US" altLang="zh-TW" sz="2000" dirty="0">
                <a:solidFill>
                  <a:srgbClr val="CC4B4A"/>
                </a:solidFill>
              </a:rPr>
              <a:t>)</a:t>
            </a:r>
          </a:p>
          <a:p>
            <a:pPr marL="0" indent="0" defTabSz="914457" fontAlgn="auto">
              <a:spcBef>
                <a:spcPct val="20000"/>
              </a:spcBef>
              <a:spcAft>
                <a:spcPts val="0"/>
              </a:spcAft>
              <a:buNone/>
              <a:defRPr/>
            </a:pPr>
            <a:r>
              <a:rPr lang="en-US" altLang="zh-TW" sz="2000" dirty="0"/>
              <a:t>sound(</a:t>
            </a:r>
            <a:r>
              <a:rPr lang="en-US" altLang="zh-TW" sz="2000" dirty="0" err="1"/>
              <a:t>signal,fs</a:t>
            </a:r>
            <a:r>
              <a:rPr lang="en-US" altLang="zh-TW" sz="2000" dirty="0"/>
              <a:t>);  </a:t>
            </a:r>
            <a:r>
              <a:rPr lang="en-US" altLang="zh-TW" sz="2000" dirty="0">
                <a:solidFill>
                  <a:srgbClr val="CC4B4A"/>
                </a:solidFill>
              </a:rPr>
              <a:t>%</a:t>
            </a:r>
            <a:r>
              <a:rPr lang="zh-TW" altLang="zh-TW" sz="2000" dirty="0">
                <a:solidFill>
                  <a:srgbClr val="CC4B4A"/>
                </a:solidFill>
              </a:rPr>
              <a:t>播放</a:t>
            </a:r>
            <a:r>
              <a:rPr lang="en-US" altLang="zh-TW" sz="2000" dirty="0">
                <a:solidFill>
                  <a:srgbClr val="CC4B4A"/>
                </a:solidFill>
              </a:rPr>
              <a:t>WAV</a:t>
            </a:r>
            <a:r>
              <a:rPr lang="zh-TW" altLang="zh-TW" sz="2000" dirty="0">
                <a:solidFill>
                  <a:srgbClr val="CC4B4A"/>
                </a:solidFill>
              </a:rPr>
              <a:t>出來聽</a:t>
            </a:r>
            <a:endParaRPr lang="en-US" altLang="zh-TW" sz="2000" dirty="0">
              <a:solidFill>
                <a:srgbClr val="CC4B4A"/>
              </a:solidFill>
            </a:endParaRPr>
          </a:p>
        </p:txBody>
      </p:sp>
      <p:sp>
        <p:nvSpPr>
          <p:cNvPr id="33" name="Freeform 359"/>
          <p:cNvSpPr>
            <a:spLocks noChangeAspect="1"/>
          </p:cNvSpPr>
          <p:nvPr/>
        </p:nvSpPr>
        <p:spPr>
          <a:xfrm>
            <a:off x="1487520" y="5073229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 Placeholder 3"/>
          <p:cNvSpPr txBox="1">
            <a:spLocks/>
          </p:cNvSpPr>
          <p:nvPr/>
        </p:nvSpPr>
        <p:spPr>
          <a:xfrm>
            <a:off x="1956302" y="5065439"/>
            <a:ext cx="4616648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將混雜語音的聲音播出來看看有沒有效果</a:t>
            </a:r>
          </a:p>
        </p:txBody>
      </p:sp>
      <p:sp>
        <p:nvSpPr>
          <p:cNvPr id="23" name="îSľíḓe">
            <a:extLst>
              <a:ext uri="{FF2B5EF4-FFF2-40B4-BE49-F238E27FC236}">
                <a16:creationId xmlns:a16="http://schemas.microsoft.com/office/drawing/2014/main" id="{2BF11BA7-9964-4575-B527-5E5EB9C5F8A7}"/>
              </a:ext>
            </a:extLst>
          </p:cNvPr>
          <p:cNvSpPr/>
          <p:nvPr/>
        </p:nvSpPr>
        <p:spPr>
          <a:xfrm rot="16200000">
            <a:off x="5097606" y="-547287"/>
            <a:ext cx="1497570" cy="5827820"/>
          </a:xfrm>
          <a:prstGeom prst="roundRect">
            <a:avLst>
              <a:gd name="adj" fmla="val 3826"/>
            </a:avLst>
          </a:prstGeom>
          <a:pattFill prst="dkUpDiag">
            <a:fgClr>
              <a:srgbClr val="FFFFFF">
                <a:lumMod val="95000"/>
              </a:srgbClr>
            </a:fgClr>
            <a:bgClr>
              <a:srgbClr val="FFFFFF"/>
            </a:bgClr>
          </a:pattFill>
          <a:ln w="3175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  <p:txBody>
          <a:bodyPr vert="eaVert" wrap="square" lIns="91440" tIns="45720" rIns="91440" bIns="45720" anchor="ctr">
            <a:noAutofit/>
          </a:bodyPr>
          <a:lstStyle/>
          <a:p>
            <a:pPr marL="447675" marR="0" lvl="0" indent="-179388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kern="0" dirty="0">
                <a:solidFill>
                  <a:srgbClr val="000000"/>
                </a:solidFill>
                <a:latin typeface="Arial"/>
                <a:ea typeface="微軟正黑體" panose="020B0604030504040204" pitchFamily="34" charset="-120"/>
              </a:rPr>
              <a:t>練習音檔存取及播放、加入雜訊</a:t>
            </a:r>
          </a:p>
          <a:p>
            <a:pPr marL="447675" marR="0" lvl="0" indent="-179388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kern="0" dirty="0">
                <a:solidFill>
                  <a:srgbClr val="000000"/>
                </a:solidFill>
                <a:latin typeface="Arial"/>
                <a:ea typeface="微軟正黑體" panose="020B0604030504040204" pitchFamily="34" charset="-120"/>
              </a:rPr>
              <a:t>參考講義→實驗步驟：步驟一、二</a:t>
            </a:r>
          </a:p>
          <a:p>
            <a:pPr marL="447675" marR="0" lvl="0" indent="-179388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TW" sz="2000" kern="0" dirty="0">
                <a:solidFill>
                  <a:srgbClr val="000000"/>
                </a:solidFill>
                <a:latin typeface="Arial"/>
                <a:ea typeface="微軟正黑體" panose="020B0604030504040204" pitchFamily="34" charset="-120"/>
              </a:rPr>
              <a:t>Hint</a:t>
            </a:r>
            <a:r>
              <a:rPr kumimoji="0" lang="zh-TW" altLang="en-US" sz="2000" kern="0" dirty="0">
                <a:solidFill>
                  <a:srgbClr val="000000"/>
                </a:solidFill>
                <a:latin typeface="Arial"/>
                <a:ea typeface="微軟正黑體" panose="020B0604030504040204" pitchFamily="34" charset="-120"/>
              </a:rPr>
              <a:t>：</a:t>
            </a:r>
            <a:r>
              <a:rPr kumimoji="0" lang="en-US" altLang="zh-TW" sz="2000" kern="0" dirty="0">
                <a:solidFill>
                  <a:srgbClr val="000000"/>
                </a:solidFill>
                <a:latin typeface="Arial"/>
                <a:ea typeface="微軟正黑體" panose="020B0604030504040204" pitchFamily="34" charset="-120"/>
              </a:rPr>
              <a:t>(1) </a:t>
            </a:r>
            <a:r>
              <a:rPr kumimoji="0" lang="zh-TW" altLang="en-US" sz="2000" kern="0" dirty="0">
                <a:solidFill>
                  <a:srgbClr val="000000"/>
                </a:solidFill>
                <a:latin typeface="Arial"/>
                <a:ea typeface="微軟正黑體" panose="020B0604030504040204" pitchFamily="34" charset="-120"/>
              </a:rPr>
              <a:t>訊雜比 </a:t>
            </a:r>
            <a:r>
              <a:rPr kumimoji="0" lang="en-US" altLang="zh-TW" sz="2000" kern="0" dirty="0">
                <a:solidFill>
                  <a:srgbClr val="000000"/>
                </a:solidFill>
                <a:latin typeface="Arial"/>
                <a:ea typeface="微軟正黑體" panose="020B0604030504040204" pitchFamily="34" charset="-120"/>
              </a:rPr>
              <a:t>= 5 (2) </a:t>
            </a:r>
            <a:r>
              <a:rPr kumimoji="0" lang="zh-TW" altLang="en-US" sz="2000" kern="0" dirty="0">
                <a:solidFill>
                  <a:srgbClr val="000000"/>
                </a:solidFill>
                <a:latin typeface="Arial"/>
                <a:ea typeface="微軟正黑體" panose="020B0604030504040204" pitchFamily="34" charset="-120"/>
              </a:rPr>
              <a:t>輸出時間 </a:t>
            </a:r>
            <a:r>
              <a:rPr kumimoji="0" lang="en-US" altLang="zh-TW" sz="2000" kern="0" dirty="0">
                <a:solidFill>
                  <a:srgbClr val="000000"/>
                </a:solidFill>
                <a:latin typeface="Arial"/>
                <a:ea typeface="微軟正黑體" panose="020B0604030504040204" pitchFamily="34" charset="-120"/>
              </a:rPr>
              <a:t>s = 10</a:t>
            </a:r>
            <a:r>
              <a:rPr kumimoji="0" lang="zh-TW" altLang="en-US" sz="2000" kern="0" dirty="0">
                <a:solidFill>
                  <a:srgbClr val="000000"/>
                </a:solidFill>
                <a:latin typeface="Arial"/>
                <a:ea typeface="微軟正黑體" panose="020B0604030504040204" pitchFamily="34" charset="-120"/>
              </a:rPr>
              <a:t>秒</a:t>
            </a:r>
          </a:p>
        </p:txBody>
      </p:sp>
      <p:sp>
        <p:nvSpPr>
          <p:cNvPr id="28" name="îṩḷiḓê">
            <a:extLst>
              <a:ext uri="{FF2B5EF4-FFF2-40B4-BE49-F238E27FC236}">
                <a16:creationId xmlns:a16="http://schemas.microsoft.com/office/drawing/2014/main" id="{27FC8BF8-A3A4-4CC4-9D8A-BD45A4C41A45}"/>
              </a:ext>
            </a:extLst>
          </p:cNvPr>
          <p:cNvSpPr/>
          <p:nvPr/>
        </p:nvSpPr>
        <p:spPr>
          <a:xfrm rot="16200000">
            <a:off x="2346752" y="2042136"/>
            <a:ext cx="1108324" cy="472564"/>
          </a:xfrm>
          <a:prstGeom prst="roundRect">
            <a:avLst>
              <a:gd name="adj" fmla="val 50000"/>
            </a:avLst>
          </a:prstGeom>
          <a:solidFill>
            <a:srgbClr val="12529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vert="eaVert" wrap="square" lIns="91440" tIns="45720" rIns="91440" bIns="4572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000" b="1" kern="0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驗一</a:t>
            </a:r>
            <a:endParaRPr kumimoji="0" sz="2000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9542716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ïşļiďé">
            <a:extLst>
              <a:ext uri="{FF2B5EF4-FFF2-40B4-BE49-F238E27FC236}">
                <a16:creationId xmlns:a16="http://schemas.microsoft.com/office/drawing/2014/main" id="{D96EEB81-8803-4E6E-AA04-46CC3E4B2C91}"/>
              </a:ext>
            </a:extLst>
          </p:cNvPr>
          <p:cNvGrpSpPr/>
          <p:nvPr/>
        </p:nvGrpSpPr>
        <p:grpSpPr>
          <a:xfrm rot="16200000">
            <a:off x="4963681" y="-681211"/>
            <a:ext cx="1497570" cy="6095669"/>
            <a:chOff x="2978105" y="1981200"/>
            <a:chExt cx="1244302" cy="6095669"/>
          </a:xfrm>
        </p:grpSpPr>
        <p:sp>
          <p:nvSpPr>
            <p:cNvPr id="28" name="îSľíḓe">
              <a:extLst>
                <a:ext uri="{FF2B5EF4-FFF2-40B4-BE49-F238E27FC236}">
                  <a16:creationId xmlns:a16="http://schemas.microsoft.com/office/drawing/2014/main" id="{2BF11BA7-9964-4575-B527-5E5EB9C5F8A7}"/>
                </a:ext>
              </a:extLst>
            </p:cNvPr>
            <p:cNvSpPr/>
            <p:nvPr/>
          </p:nvSpPr>
          <p:spPr>
            <a:xfrm>
              <a:off x="2978105" y="2249049"/>
              <a:ext cx="1244302" cy="5827820"/>
            </a:xfrm>
            <a:prstGeom prst="roundRect">
              <a:avLst>
                <a:gd name="adj" fmla="val 3826"/>
              </a:avLst>
            </a:prstGeom>
            <a:pattFill prst="dkUpDiag">
              <a:fgClr>
                <a:srgbClr val="FFFFFF">
                  <a:lumMod val="95000"/>
                </a:srgbClr>
              </a:fgClr>
              <a:bgClr>
                <a:srgbClr val="FFFFFF"/>
              </a:bgClr>
            </a:pattFill>
            <a:ln w="3175" cap="flat" cmpd="sng" algn="ctr">
              <a:solidFill>
                <a:srgbClr val="FFFFFF">
                  <a:lumMod val="85000"/>
                </a:srgbClr>
              </a:solidFill>
              <a:prstDash val="solid"/>
              <a:miter lim="800000"/>
            </a:ln>
            <a:effectLst/>
          </p:spPr>
          <p:txBody>
            <a:bodyPr vert="eaVert" wrap="square" lIns="91440" tIns="45720" rIns="91440" bIns="45720" anchor="ctr">
              <a:noAutofit/>
            </a:bodyPr>
            <a:lstStyle/>
            <a:p>
              <a:pPr marL="447675" marR="0" lvl="0" indent="-179388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TW" altLang="en-US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消除雜訊，並將消除雜訊後的語音儲存起來</a:t>
              </a:r>
            </a:p>
            <a:p>
              <a:pPr marL="447675" marR="0" lvl="0" indent="-179388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TW" altLang="en-US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參考講義→實驗步驟：步驟三、四</a:t>
              </a:r>
            </a:p>
            <a:p>
              <a:pPr marL="447675" marR="0" lvl="0" indent="-179388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TW" altLang="en-US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採樣噪音秒數 </a:t>
              </a:r>
              <a:r>
                <a:rPr kumimoji="0" lang="en-US" altLang="zh-TW" sz="2000" kern="0" dirty="0">
                  <a:solidFill>
                    <a:srgbClr val="000000"/>
                  </a:solidFill>
                  <a:latin typeface="Arial"/>
                  <a:ea typeface="微軟正黑體" panose="020B0604030504040204" pitchFamily="34" charset="-120"/>
                </a:rPr>
                <a:t>s = 0.5 </a:t>
              </a:r>
            </a:p>
          </p:txBody>
        </p:sp>
        <p:sp>
          <p:nvSpPr>
            <p:cNvPr id="29" name="îṩḷiḓê">
              <a:extLst>
                <a:ext uri="{FF2B5EF4-FFF2-40B4-BE49-F238E27FC236}">
                  <a16:creationId xmlns:a16="http://schemas.microsoft.com/office/drawing/2014/main" id="{27FC8BF8-A3A4-4CC4-9D8A-BD45A4C41A45}"/>
                </a:ext>
              </a:extLst>
            </p:cNvPr>
            <p:cNvSpPr/>
            <p:nvPr/>
          </p:nvSpPr>
          <p:spPr>
            <a:xfrm>
              <a:off x="3213102" y="1981200"/>
              <a:ext cx="920885" cy="472564"/>
            </a:xfrm>
            <a:prstGeom prst="roundRect">
              <a:avLst>
                <a:gd name="adj" fmla="val 50000"/>
              </a:avLst>
            </a:prstGeom>
            <a:solidFill>
              <a:srgbClr val="12529F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vert="eaVert" wrap="square" lIns="91440" tIns="45720" rIns="91440" bIns="4572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2000" b="1" kern="0" dirty="0">
                  <a:solidFill>
                    <a:srgbClr val="FFFFFF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實驗二</a:t>
              </a:r>
              <a:endParaRPr kumimoji="0" sz="2000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cs typeface="Times New Roman" panose="02020603050405020304" pitchFamily="18" charset="0"/>
              </a:rPr>
              <a:t>實驗二</a:t>
            </a:r>
            <a:endParaRPr lang="zh-TW" altLang="en-US" dirty="0"/>
          </a:p>
        </p:txBody>
      </p:sp>
      <p:sp>
        <p:nvSpPr>
          <p:cNvPr id="12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1683250" y="3295933"/>
            <a:ext cx="10461422" cy="98488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將帶有雜訊的語音訊號通過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wiener filter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消除雜訊，利用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wienerscalart96.m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輸入信號變數</a:t>
            </a:r>
            <a:endParaRPr kumimoji="0" lang="en-US" altLang="zh-TW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output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、取樣頻率 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fs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、以及採樣噪音秒數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 (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建議在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0~1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之間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將參雜噪音的語音訊號透過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wiener filter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以消去雜訊。</a:t>
            </a:r>
          </a:p>
        </p:txBody>
      </p:sp>
      <p:sp>
        <p:nvSpPr>
          <p:cNvPr id="17" name="Oval 77"/>
          <p:cNvSpPr>
            <a:spLocks noChangeArrowheads="1"/>
          </p:cNvSpPr>
          <p:nvPr/>
        </p:nvSpPr>
        <p:spPr bwMode="auto">
          <a:xfrm>
            <a:off x="1007630" y="3332146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1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30" name="Text Placeholder 3"/>
          <p:cNvSpPr txBox="1">
            <a:spLocks/>
          </p:cNvSpPr>
          <p:nvPr/>
        </p:nvSpPr>
        <p:spPr>
          <a:xfrm>
            <a:off x="1683250" y="5301208"/>
            <a:ext cx="9776715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利用</a:t>
            </a:r>
            <a:r>
              <a:rPr kumimoji="0" lang="en-US" altLang="zh-TW" sz="2000" dirty="0" err="1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audiowrite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將我們的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output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寫成</a:t>
            </a:r>
            <a:r>
              <a:rPr kumimoji="0" lang="en-US" altLang="zh-TW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wav</a:t>
            </a:r>
            <a:r>
              <a:rPr kumimoji="0"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檔案，可以自己設定輸出路徑及輸出檔案名稱。</a:t>
            </a:r>
          </a:p>
        </p:txBody>
      </p:sp>
      <p:sp>
        <p:nvSpPr>
          <p:cNvPr id="31" name="Oval 77"/>
          <p:cNvSpPr>
            <a:spLocks noChangeArrowheads="1"/>
          </p:cNvSpPr>
          <p:nvPr/>
        </p:nvSpPr>
        <p:spPr bwMode="auto">
          <a:xfrm>
            <a:off x="1007630" y="5304637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2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32" name="Rectangle 3"/>
          <p:cNvSpPr txBox="1">
            <a:spLocks noChangeArrowheads="1"/>
          </p:cNvSpPr>
          <p:nvPr/>
        </p:nvSpPr>
        <p:spPr>
          <a:xfrm>
            <a:off x="4727848" y="4110301"/>
            <a:ext cx="4824504" cy="936104"/>
          </a:xfrm>
          <a:prstGeom prst="roundRect">
            <a:avLst>
              <a:gd name="adj" fmla="val 9581"/>
            </a:avLst>
          </a:prstGeom>
          <a:solidFill>
            <a:srgbClr val="E1F0FB"/>
          </a:solidFill>
        </p:spPr>
        <p:txBody>
          <a:bodyPr anchor="ctr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57" fontAlgn="auto">
              <a:spcBef>
                <a:spcPct val="20000"/>
              </a:spcBef>
              <a:spcAft>
                <a:spcPts val="0"/>
              </a:spcAft>
              <a:buNone/>
              <a:defRPr/>
            </a:pPr>
            <a:r>
              <a:rPr lang="en-US" altLang="zh-TW" sz="2000" dirty="0"/>
              <a:t>output1=WienerScalart96(</a:t>
            </a:r>
            <a:r>
              <a:rPr lang="en-US" altLang="zh-TW" sz="2000" dirty="0" err="1"/>
              <a:t>output,fs,s</a:t>
            </a:r>
            <a:r>
              <a:rPr lang="en-US" altLang="zh-TW" sz="2000" dirty="0"/>
              <a:t>);</a:t>
            </a:r>
          </a:p>
          <a:p>
            <a:pPr marL="0" indent="0" defTabSz="914457" fontAlgn="auto">
              <a:spcBef>
                <a:spcPct val="20000"/>
              </a:spcBef>
              <a:spcAft>
                <a:spcPts val="0"/>
              </a:spcAft>
              <a:buNone/>
              <a:defRPr/>
            </a:pPr>
            <a:r>
              <a:rPr lang="en-US" altLang="zh-TW" sz="2000" dirty="0"/>
              <a:t>sound(</a:t>
            </a:r>
            <a:r>
              <a:rPr lang="en-US" altLang="zh-TW" sz="2000" dirty="0" err="1"/>
              <a:t>output,fs</a:t>
            </a:r>
            <a:r>
              <a:rPr lang="en-US" altLang="zh-TW" sz="2000" dirty="0"/>
              <a:t>);</a:t>
            </a:r>
          </a:p>
        </p:txBody>
      </p:sp>
      <p:sp>
        <p:nvSpPr>
          <p:cNvPr id="22" name="Rectangle 3"/>
          <p:cNvSpPr txBox="1">
            <a:spLocks noChangeArrowheads="1"/>
          </p:cNvSpPr>
          <p:nvPr/>
        </p:nvSpPr>
        <p:spPr>
          <a:xfrm>
            <a:off x="4727848" y="5877272"/>
            <a:ext cx="4824504" cy="602565"/>
          </a:xfrm>
          <a:prstGeom prst="roundRect">
            <a:avLst>
              <a:gd name="adj" fmla="val 9581"/>
            </a:avLst>
          </a:prstGeom>
          <a:solidFill>
            <a:srgbClr val="E1F0FB"/>
          </a:solidFill>
        </p:spPr>
        <p:txBody>
          <a:bodyPr anchor="ctr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 baseline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57" fontAlgn="auto">
              <a:spcBef>
                <a:spcPct val="20000"/>
              </a:spcBef>
              <a:spcAft>
                <a:spcPts val="0"/>
              </a:spcAft>
              <a:buNone/>
              <a:defRPr/>
            </a:pPr>
            <a:r>
              <a:rPr lang="en-US" altLang="zh-TW" sz="2000" dirty="0" err="1"/>
              <a:t>audiowrite</a:t>
            </a:r>
            <a:r>
              <a:rPr lang="en-US" altLang="zh-TW" sz="2000" dirty="0"/>
              <a:t>( Filename, output1, fs);</a:t>
            </a:r>
          </a:p>
        </p:txBody>
      </p:sp>
    </p:spTree>
    <p:extLst>
      <p:ext uri="{BB962C8B-B14F-4D97-AF65-F5344CB8AC3E}">
        <p14:creationId xmlns:p14="http://schemas.microsoft.com/office/powerpoint/2010/main" val="2168679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音框</a:t>
            </a:r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0" y="1272222"/>
            <a:ext cx="711200" cy="244476"/>
          </a:xfrm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1659053" y="3272827"/>
            <a:ext cx="4103688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一個音框可以計算出一個語音特徵值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1659053" y="1839718"/>
            <a:ext cx="3077766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音框是語音處理的最小單位</a:t>
            </a: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1659053" y="2556273"/>
            <a:ext cx="3590727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大小沒有一定標準，使用者自訂</a:t>
            </a:r>
          </a:p>
        </p:txBody>
      </p:sp>
      <p:sp>
        <p:nvSpPr>
          <p:cNvPr id="9" name="Oval 77"/>
          <p:cNvSpPr>
            <a:spLocks noChangeArrowheads="1"/>
          </p:cNvSpPr>
          <p:nvPr/>
        </p:nvSpPr>
        <p:spPr bwMode="auto">
          <a:xfrm>
            <a:off x="983432" y="2560540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31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12" name="Oval 77"/>
          <p:cNvSpPr>
            <a:spLocks noChangeArrowheads="1"/>
          </p:cNvSpPr>
          <p:nvPr/>
        </p:nvSpPr>
        <p:spPr bwMode="auto">
          <a:xfrm>
            <a:off x="983432" y="3276256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31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15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31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09339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2529F"/>
      </a:accent1>
      <a:accent2>
        <a:srgbClr val="162E46"/>
      </a:accent2>
      <a:accent3>
        <a:srgbClr val="E4E4EF"/>
      </a:accent3>
      <a:accent4>
        <a:srgbClr val="D6953E"/>
      </a:accent4>
      <a:accent5>
        <a:srgbClr val="858588"/>
      </a:accent5>
      <a:accent6>
        <a:srgbClr val="B4BAD1"/>
      </a:accent6>
      <a:hlink>
        <a:srgbClr val="4276AA"/>
      </a:hlink>
      <a:folHlink>
        <a:srgbClr val="BFBFB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中庸">
  <a:themeElements>
    <a:clrScheme name="自訂 2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0E457D"/>
      </a:accent6>
      <a:hlink>
        <a:srgbClr val="0000FF"/>
      </a:hlink>
      <a:folHlink>
        <a:srgbClr val="000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中庸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2529F"/>
      </a:accent1>
      <a:accent2>
        <a:srgbClr val="162E46"/>
      </a:accent2>
      <a:accent3>
        <a:srgbClr val="E4E4EF"/>
      </a:accent3>
      <a:accent4>
        <a:srgbClr val="D6953E"/>
      </a:accent4>
      <a:accent5>
        <a:srgbClr val="858588"/>
      </a:accent5>
      <a:accent6>
        <a:srgbClr val="B4BAD1"/>
      </a:accent6>
      <a:hlink>
        <a:srgbClr val="4276AA"/>
      </a:hlink>
      <a:folHlink>
        <a:srgbClr val="BFBFB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4.xml><?xml version="1.0" encoding="utf-8"?>
<a:theme xmlns:a="http://schemas.openxmlformats.org/drawingml/2006/main" name="1_中庸">
  <a:themeElements>
    <a:clrScheme name="自訂 3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0000FF"/>
      </a:hlink>
      <a:folHlink>
        <a:srgbClr val="6565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中庸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529F"/>
    </a:accent1>
    <a:accent2>
      <a:srgbClr val="162E46"/>
    </a:accent2>
    <a:accent3>
      <a:srgbClr val="E4E4EF"/>
    </a:accent3>
    <a:accent4>
      <a:srgbClr val="D6953E"/>
    </a:accent4>
    <a:accent5>
      <a:srgbClr val="858588"/>
    </a:accent5>
    <a:accent6>
      <a:srgbClr val="B4BAD1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529F"/>
    </a:accent1>
    <a:accent2>
      <a:srgbClr val="162E46"/>
    </a:accent2>
    <a:accent3>
      <a:srgbClr val="E4E4EF"/>
    </a:accent3>
    <a:accent4>
      <a:srgbClr val="D6953E"/>
    </a:accent4>
    <a:accent5>
      <a:srgbClr val="858588"/>
    </a:accent5>
    <a:accent6>
      <a:srgbClr val="B4BAD1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529F"/>
    </a:accent1>
    <a:accent2>
      <a:srgbClr val="162E46"/>
    </a:accent2>
    <a:accent3>
      <a:srgbClr val="E4E4EF"/>
    </a:accent3>
    <a:accent4>
      <a:srgbClr val="D6953E"/>
    </a:accent4>
    <a:accent5>
      <a:srgbClr val="858588"/>
    </a:accent5>
    <a:accent6>
      <a:srgbClr val="B4BAD1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529F"/>
    </a:accent1>
    <a:accent2>
      <a:srgbClr val="162E46"/>
    </a:accent2>
    <a:accent3>
      <a:srgbClr val="E4E4EF"/>
    </a:accent3>
    <a:accent4>
      <a:srgbClr val="D6953E"/>
    </a:accent4>
    <a:accent5>
      <a:srgbClr val="858588"/>
    </a:accent5>
    <a:accent6>
      <a:srgbClr val="B4BAD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佈景主題1</Template>
  <TotalTime>23873</TotalTime>
  <Words>1996</Words>
  <Application>Microsoft Office PowerPoint</Application>
  <PresentationFormat>寬螢幕</PresentationFormat>
  <Paragraphs>235</Paragraphs>
  <Slides>27</Slides>
  <Notes>0</Notes>
  <HiddenSlides>0</HiddenSlides>
  <MMClips>0</MMClips>
  <ScaleCrop>false</ScaleCrop>
  <HeadingPairs>
    <vt:vector size="8" baseType="variant">
      <vt:variant>
        <vt:lpstr>使用字型</vt:lpstr>
      </vt:variant>
      <vt:variant>
        <vt:i4>12</vt:i4>
      </vt:variant>
      <vt:variant>
        <vt:lpstr>佈景主題</vt:lpstr>
      </vt:variant>
      <vt:variant>
        <vt:i4>4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27</vt:i4>
      </vt:variant>
    </vt:vector>
  </HeadingPairs>
  <TitlesOfParts>
    <vt:vector size="44" baseType="lpstr">
      <vt:lpstr>微软雅黑</vt:lpstr>
      <vt:lpstr>黑体</vt:lpstr>
      <vt:lpstr>宋体</vt:lpstr>
      <vt:lpstr>微軟正黑體</vt:lpstr>
      <vt:lpstr>新細明體</vt:lpstr>
      <vt:lpstr>Arial</vt:lpstr>
      <vt:lpstr>Calibri</vt:lpstr>
      <vt:lpstr>Cambria Math</vt:lpstr>
      <vt:lpstr>Impact</vt:lpstr>
      <vt:lpstr>Times New Roman</vt:lpstr>
      <vt:lpstr>Wingdings</vt:lpstr>
      <vt:lpstr>Wingdings 2</vt:lpstr>
      <vt:lpstr>主题5</vt:lpstr>
      <vt:lpstr>中庸</vt:lpstr>
      <vt:lpstr>1_主题5</vt:lpstr>
      <vt:lpstr>1_中庸</vt:lpstr>
      <vt:lpstr>think-cell Slide</vt:lpstr>
      <vt:lpstr>數位信號處理實驗 (DSP)</vt:lpstr>
      <vt:lpstr>NOISE</vt:lpstr>
      <vt:lpstr>教學影片</vt:lpstr>
      <vt:lpstr>實驗工具</vt:lpstr>
      <vt:lpstr>實驗工具</vt:lpstr>
      <vt:lpstr>實驗一 (1/2)</vt:lpstr>
      <vt:lpstr>實驗一 (2/2)</vt:lpstr>
      <vt:lpstr>實驗二</vt:lpstr>
      <vt:lpstr>音框</vt:lpstr>
      <vt:lpstr>SNR (1/2)</vt:lpstr>
      <vt:lpstr>SNR (2/2)</vt:lpstr>
      <vt:lpstr>Direction </vt:lpstr>
      <vt:lpstr>問題討論</vt:lpstr>
      <vt:lpstr>問題討論 </vt:lpstr>
      <vt:lpstr>Question </vt:lpstr>
      <vt:lpstr>補充說明</vt:lpstr>
      <vt:lpstr>補充說明</vt:lpstr>
      <vt:lpstr>繪出頻譜圖 (cooledit)</vt:lpstr>
      <vt:lpstr>ECHO </vt:lpstr>
      <vt:lpstr>教學影片</vt:lpstr>
      <vt:lpstr>實驗工具</vt:lpstr>
      <vt:lpstr>實驗步驟</vt:lpstr>
      <vt:lpstr>實驗三：產生、播放Echo</vt:lpstr>
      <vt:lpstr>實驗四：使用所提供的LMS程式來進行回音消除(Matlab)並觀察MSE (Mean square error) </vt:lpstr>
      <vt:lpstr>ECHO</vt:lpstr>
      <vt:lpstr>實驗五：使用所提供的LMS程式來進行回音消除(Matlab)並觀察MSE (Mean square error) </vt:lpstr>
      <vt:lpstr>報告說明及配分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LAB© 簡介</dc:title>
  <dc:creator>林峰毅</dc:creator>
  <cp:lastModifiedBy>WIMOC</cp:lastModifiedBy>
  <cp:revision>653</cp:revision>
  <cp:lastPrinted>2020-09-24T04:17:42Z</cp:lastPrinted>
  <dcterms:created xsi:type="dcterms:W3CDTF">2000-07-16T03:35:59Z</dcterms:created>
  <dcterms:modified xsi:type="dcterms:W3CDTF">2021-12-21T12:12:15Z</dcterms:modified>
</cp:coreProperties>
</file>